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77" r:id="rId4"/>
    <p:sldMasterId id="2147484208" r:id="rId5"/>
    <p:sldMasterId id="2147484224" r:id="rId6"/>
    <p:sldMasterId id="2147484244" r:id="rId7"/>
    <p:sldMasterId id="2147484251" r:id="rId8"/>
  </p:sldMasterIdLst>
  <p:notesMasterIdLst>
    <p:notesMasterId r:id="rId16"/>
  </p:notesMasterIdLst>
  <p:handoutMasterIdLst>
    <p:handoutMasterId r:id="rId17"/>
  </p:handoutMasterIdLst>
  <p:sldIdLst>
    <p:sldId id="1518" r:id="rId9"/>
    <p:sldId id="1620" r:id="rId10"/>
    <p:sldId id="1754" r:id="rId11"/>
    <p:sldId id="1832" r:id="rId12"/>
    <p:sldId id="1831" r:id="rId13"/>
    <p:sldId id="1830" r:id="rId14"/>
    <p:sldId id="1586" r:id="rId15"/>
  </p:sldIdLst>
  <p:sldSz cx="12192000" cy="6858000"/>
  <p:notesSz cx="6797675" cy="9926638"/>
  <p:custDataLst>
    <p:tags r:id="rId18"/>
  </p:custDataLst>
  <p:defaultTextStyle>
    <a:defPPr>
      <a:defRPr lang="cs-CZ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72C9AFC0-39F6-874F-B222-41799623D32E}">
          <p14:sldIdLst>
            <p14:sldId id="1518"/>
            <p14:sldId id="1620"/>
            <p14:sldId id="1754"/>
            <p14:sldId id="1832"/>
            <p14:sldId id="1831"/>
            <p14:sldId id="1830"/>
            <p14:sldId id="158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094" userDrawn="1">
          <p15:clr>
            <a:srgbClr val="A4A3A4"/>
          </p15:clr>
        </p15:guide>
        <p15:guide id="2" pos="2910" userDrawn="1">
          <p15:clr>
            <a:srgbClr val="A4A3A4"/>
          </p15:clr>
        </p15:guide>
        <p15:guide id="3" orient="horz" pos="318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xternista.ipsos" initials="e" lastIdx="18" clrIdx="0"/>
  <p:cmAuthor id="2" name="Tereza Horáková - Ipsos" initials="TH-I" lastIdx="7" clrIdx="1"/>
  <p:cmAuthor id="3" name="Magdalena Benova" initials="MB" lastIdx="17" clrIdx="2"/>
  <p:cmAuthor id="4" name="Zora Vasulinova" initials="ZV" lastIdx="8" clrIdx="3"/>
  <p:cmAuthor id="5" name="Adam Frolík" initials="AF" lastIdx="1" clrIdx="4">
    <p:extLst>
      <p:ext uri="{19B8F6BF-5375-455C-9EA6-DF929625EA0E}">
        <p15:presenceInfo xmlns:p15="http://schemas.microsoft.com/office/powerpoint/2012/main" userId="S::adam.frolik@ipsos.cz::eb0849c7-c49d-4fb7-8442-ccefda7ff8f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002554"/>
    <a:srgbClr val="D4D4D4"/>
    <a:srgbClr val="728F8E"/>
    <a:srgbClr val="004E4E"/>
    <a:srgbClr val="3B64AD"/>
    <a:srgbClr val="C00000"/>
    <a:srgbClr val="405A9C"/>
    <a:srgbClr val="404040"/>
    <a:srgbClr val="354A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69" autoAdjust="0"/>
    <p:restoredTop sz="93533" autoAdjust="0"/>
  </p:normalViewPr>
  <p:slideViewPr>
    <p:cSldViewPr showGuides="1">
      <p:cViewPr varScale="1">
        <p:scale>
          <a:sx n="82" d="100"/>
          <a:sy n="82" d="100"/>
        </p:scale>
        <p:origin x="1160" y="168"/>
      </p:cViewPr>
      <p:guideLst>
        <p:guide orient="horz" pos="1094"/>
        <p:guide pos="2910"/>
        <p:guide orient="horz" pos="31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-15737"/>
    </p:cViewPr>
  </p:sorterViewPr>
  <p:notesViewPr>
    <p:cSldViewPr showGuides="1">
      <p:cViewPr varScale="1">
        <p:scale>
          <a:sx n="77" d="100"/>
          <a:sy n="77" d="100"/>
        </p:scale>
        <p:origin x="4002" y="114"/>
      </p:cViewPr>
      <p:guideLst>
        <p:guide orient="horz" pos="3126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Nevím, nedokáži říci</c:v>
                </c:pt>
              </c:strCache>
            </c:strRef>
          </c:tx>
          <c:spPr>
            <a:solidFill>
              <a:srgbClr val="D4D4D4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5</c:f>
              <c:strCache>
                <c:ptCount val="4"/>
                <c:pt idx="0">
                  <c:v>SR apríl</c:v>
                </c:pt>
                <c:pt idx="1">
                  <c:v>SR máj</c:v>
                </c:pt>
                <c:pt idx="2">
                  <c:v>SR jún</c:v>
                </c:pt>
                <c:pt idx="3">
                  <c:v>SR júl</c:v>
                </c:pt>
              </c:strCache>
            </c:strRef>
          </c:cat>
          <c:val>
            <c:numRef>
              <c:f>List1!$B$2:$B$5</c:f>
              <c:numCache>
                <c:formatCode>General</c:formatCode>
                <c:ptCount val="4"/>
                <c:pt idx="0">
                  <c:v>15.433</c:v>
                </c:pt>
                <c:pt idx="1">
                  <c:v>12.792999999999999</c:v>
                </c:pt>
                <c:pt idx="2">
                  <c:v>26.419</c:v>
                </c:pt>
                <c:pt idx="3">
                  <c:v>23.0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49-4665-8D58-5A3163CA2FEA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Informační válka je jen záminkou západních vlád, včetně slovenské vlády, k omezování svobody slova a nepohodlných médií.</c:v>
                </c:pt>
              </c:strCache>
            </c:strRef>
          </c:tx>
          <c:spPr>
            <a:solidFill>
              <a:srgbClr val="004E4E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5</c:f>
              <c:strCache>
                <c:ptCount val="4"/>
                <c:pt idx="0">
                  <c:v>SR apríl</c:v>
                </c:pt>
                <c:pt idx="1">
                  <c:v>SR máj</c:v>
                </c:pt>
                <c:pt idx="2">
                  <c:v>SR jún</c:v>
                </c:pt>
                <c:pt idx="3">
                  <c:v>SR júl</c:v>
                </c:pt>
              </c:strCache>
            </c:strRef>
          </c:cat>
          <c:val>
            <c:numRef>
              <c:f>List1!$C$2:$C$5</c:f>
              <c:numCache>
                <c:formatCode>General</c:formatCode>
                <c:ptCount val="4"/>
                <c:pt idx="0">
                  <c:v>28.745999999999999</c:v>
                </c:pt>
                <c:pt idx="1">
                  <c:v>29.701000000000001</c:v>
                </c:pt>
                <c:pt idx="2">
                  <c:v>28.190999999999999</c:v>
                </c:pt>
                <c:pt idx="3">
                  <c:v>26.9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49-4665-8D58-5A3163CA2FEA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SR se informační válka netýká, protože současný konflikt se omezuje jen na UKR a RF, včetně různých dezinf. kampaní.</c:v>
                </c:pt>
              </c:strCache>
            </c:strRef>
          </c:tx>
          <c:spPr>
            <a:solidFill>
              <a:srgbClr val="728F8E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5</c:f>
              <c:strCache>
                <c:ptCount val="4"/>
                <c:pt idx="0">
                  <c:v>SR apríl</c:v>
                </c:pt>
                <c:pt idx="1">
                  <c:v>SR máj</c:v>
                </c:pt>
                <c:pt idx="2">
                  <c:v>SR jún</c:v>
                </c:pt>
                <c:pt idx="3">
                  <c:v>SR júl</c:v>
                </c:pt>
              </c:strCache>
            </c:strRef>
          </c:cat>
          <c:val>
            <c:numRef>
              <c:f>List1!$D$2:$D$5</c:f>
              <c:numCache>
                <c:formatCode>General</c:formatCode>
                <c:ptCount val="4"/>
                <c:pt idx="0">
                  <c:v>16.21</c:v>
                </c:pt>
                <c:pt idx="1">
                  <c:v>18.815999999999999</c:v>
                </c:pt>
                <c:pt idx="2">
                  <c:v>14.276</c:v>
                </c:pt>
                <c:pt idx="3">
                  <c:v>14.3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49-4665-8D58-5A3163CA2FEA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SR je součástí informační války, kterou vede Ruská federace, vůči západním zemím.</c:v>
                </c:pt>
              </c:strCache>
            </c:strRef>
          </c:tx>
          <c:spPr>
            <a:solidFill>
              <a:srgbClr val="002554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5</c:f>
              <c:strCache>
                <c:ptCount val="4"/>
                <c:pt idx="0">
                  <c:v>SR apríl</c:v>
                </c:pt>
                <c:pt idx="1">
                  <c:v>SR máj</c:v>
                </c:pt>
                <c:pt idx="2">
                  <c:v>SR jún</c:v>
                </c:pt>
                <c:pt idx="3">
                  <c:v>SR júl</c:v>
                </c:pt>
              </c:strCache>
            </c:strRef>
          </c:cat>
          <c:val>
            <c:numRef>
              <c:f>List1!$E$2:$E$5</c:f>
              <c:numCache>
                <c:formatCode>General</c:formatCode>
                <c:ptCount val="4"/>
                <c:pt idx="0">
                  <c:v>39.612000000000002</c:v>
                </c:pt>
                <c:pt idx="1">
                  <c:v>38.69</c:v>
                </c:pt>
                <c:pt idx="2">
                  <c:v>31.114000000000001</c:v>
                </c:pt>
                <c:pt idx="3">
                  <c:v>35.712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C49-4665-8D58-5A3163CA2F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13165839"/>
        <c:axId val="913156271"/>
      </c:barChart>
      <c:catAx>
        <c:axId val="9131658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Z"/>
          </a:p>
        </c:txPr>
        <c:crossAx val="913156271"/>
        <c:crosses val="autoZero"/>
        <c:auto val="1"/>
        <c:lblAlgn val="ctr"/>
        <c:lblOffset val="100"/>
        <c:noMultiLvlLbl val="0"/>
      </c:catAx>
      <c:valAx>
        <c:axId val="9131562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Z"/>
          </a:p>
        </c:txPr>
        <c:crossAx val="9131658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75983114016364"/>
          <c:y val="3.3469164615064009E-2"/>
          <c:w val="0.51344512261149267"/>
          <c:h val="0.8523795583694111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Neviem, nedokážem povedať</c:v>
                </c:pt>
              </c:strCache>
            </c:strRef>
          </c:tx>
          <c:spPr>
            <a:solidFill>
              <a:srgbClr val="D4D4D4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SR marec</c:v>
                </c:pt>
              </c:strCache>
            </c:strRef>
          </c:cat>
          <c:val>
            <c:numRef>
              <c:f>List1!$B$2</c:f>
              <c:numCache>
                <c:formatCode>General</c:formatCode>
                <c:ptCount val="1"/>
                <c:pt idx="0">
                  <c:v>27.335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92-4782-A7A9-3837991B9AB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Informačná vojna je len zámienkou západných vlád, vrátane tej našej, na obmedzovanie slobody prejavu a nepohodlných médií.</c:v>
                </c:pt>
              </c:strCache>
            </c:strRef>
          </c:tx>
          <c:spPr>
            <a:solidFill>
              <a:srgbClr val="004E4E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SR marec</c:v>
                </c:pt>
              </c:strCache>
            </c:strRef>
          </c:cat>
          <c:val>
            <c:numRef>
              <c:f>List1!$C$2</c:f>
              <c:numCache>
                <c:formatCode>General</c:formatCode>
                <c:ptCount val="1"/>
                <c:pt idx="0">
                  <c:v>26.265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492-4782-A7A9-3837991B9AB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Slovenska sa informačná vojna netýka protože súčasný konflikt sa obmedzuje len na Ukrajinu a Rusko vrátane rôznych dezinformačných kampaní.</c:v>
                </c:pt>
              </c:strCache>
            </c:strRef>
          </c:tx>
          <c:spPr>
            <a:solidFill>
              <a:srgbClr val="728F8E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SR marec</c:v>
                </c:pt>
              </c:strCache>
            </c:strRef>
          </c:cat>
          <c:val>
            <c:numRef>
              <c:f>List1!$D$2</c:f>
              <c:numCache>
                <c:formatCode>General</c:formatCode>
                <c:ptCount val="1"/>
                <c:pt idx="0">
                  <c:v>10.864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92-4782-A7A9-3837991B9ABC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Slovensko je súčasťou informačnej vojny ktorú vedie Rusko voči západným krajinám.</c:v>
                </c:pt>
              </c:strCache>
            </c:strRef>
          </c:tx>
          <c:spPr>
            <a:solidFill>
              <a:srgbClr val="002554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SR marec</c:v>
                </c:pt>
              </c:strCache>
            </c:strRef>
          </c:cat>
          <c:val>
            <c:numRef>
              <c:f>List1!$E$2</c:f>
              <c:numCache>
                <c:formatCode>General</c:formatCode>
                <c:ptCount val="1"/>
                <c:pt idx="0">
                  <c:v>35.534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492-4782-A7A9-3837991B9A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13165839"/>
        <c:axId val="913156271"/>
      </c:barChart>
      <c:catAx>
        <c:axId val="9131658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Z"/>
          </a:p>
        </c:txPr>
        <c:crossAx val="913156271"/>
        <c:crosses val="autoZero"/>
        <c:auto val="1"/>
        <c:lblAlgn val="ctr"/>
        <c:lblOffset val="100"/>
        <c:noMultiLvlLbl val="0"/>
      </c:catAx>
      <c:valAx>
        <c:axId val="9131562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Z"/>
          </a:p>
        </c:txPr>
        <c:crossAx val="9131658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5811265034364264"/>
          <c:y val="2.239479540958229E-2"/>
          <c:w val="0.32824903350515466"/>
          <c:h val="0.975260333266274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Nevím, nedokáži říci</c:v>
                </c:pt>
              </c:strCache>
            </c:strRef>
          </c:tx>
          <c:spPr>
            <a:solidFill>
              <a:srgbClr val="D4D4D4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5</c:f>
              <c:strCache>
                <c:ptCount val="4"/>
                <c:pt idx="0">
                  <c:v>ČR apríl</c:v>
                </c:pt>
                <c:pt idx="1">
                  <c:v>ČR máj</c:v>
                </c:pt>
                <c:pt idx="2">
                  <c:v>ČR jún</c:v>
                </c:pt>
                <c:pt idx="3">
                  <c:v>ČR júl</c:v>
                </c:pt>
              </c:strCache>
            </c:strRef>
          </c:cat>
          <c:val>
            <c:numRef>
              <c:f>List1!$B$2:$B$5</c:f>
              <c:numCache>
                <c:formatCode>General</c:formatCode>
                <c:ptCount val="4"/>
                <c:pt idx="0">
                  <c:v>18.721</c:v>
                </c:pt>
                <c:pt idx="1">
                  <c:v>17.734000000000002</c:v>
                </c:pt>
                <c:pt idx="2">
                  <c:v>26.85</c:v>
                </c:pt>
                <c:pt idx="3">
                  <c:v>24.533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49-4665-8D58-5A3163CA2FEA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Informační válka je jen záminkou západních vlád, včetně české/slovenské vlády, k omezování svobody slova a nepohodlných médií.</c:v>
                </c:pt>
              </c:strCache>
            </c:strRef>
          </c:tx>
          <c:spPr>
            <a:solidFill>
              <a:srgbClr val="004E4E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5</c:f>
              <c:strCache>
                <c:ptCount val="4"/>
                <c:pt idx="0">
                  <c:v>ČR apríl</c:v>
                </c:pt>
                <c:pt idx="1">
                  <c:v>ČR máj</c:v>
                </c:pt>
                <c:pt idx="2">
                  <c:v>ČR jún</c:v>
                </c:pt>
                <c:pt idx="3">
                  <c:v>ČR júl</c:v>
                </c:pt>
              </c:strCache>
            </c:strRef>
          </c:cat>
          <c:val>
            <c:numRef>
              <c:f>List1!$C$2:$C$5</c:f>
              <c:numCache>
                <c:formatCode>General</c:formatCode>
                <c:ptCount val="4"/>
                <c:pt idx="0">
                  <c:v>15</c:v>
                </c:pt>
                <c:pt idx="1">
                  <c:v>20.324999999999999</c:v>
                </c:pt>
                <c:pt idx="2">
                  <c:v>18.582999999999998</c:v>
                </c:pt>
                <c:pt idx="3">
                  <c:v>19.332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49-4665-8D58-5A3163CA2FEA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ČR/SR se informační válka netýká, protože současný konflikt se omezuje jen na UKR a RF, včetně různých dezinf. kampaní.</c:v>
                </c:pt>
              </c:strCache>
            </c:strRef>
          </c:tx>
          <c:spPr>
            <a:solidFill>
              <a:srgbClr val="728F8E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5</c:f>
              <c:strCache>
                <c:ptCount val="4"/>
                <c:pt idx="0">
                  <c:v>ČR apríl</c:v>
                </c:pt>
                <c:pt idx="1">
                  <c:v>ČR máj</c:v>
                </c:pt>
                <c:pt idx="2">
                  <c:v>ČR jún</c:v>
                </c:pt>
                <c:pt idx="3">
                  <c:v>ČR júl</c:v>
                </c:pt>
              </c:strCache>
            </c:strRef>
          </c:cat>
          <c:val>
            <c:numRef>
              <c:f>List1!$D$2:$D$5</c:f>
              <c:numCache>
                <c:formatCode>General</c:formatCode>
                <c:ptCount val="4"/>
                <c:pt idx="0">
                  <c:v>13.824999999999999</c:v>
                </c:pt>
                <c:pt idx="1">
                  <c:v>10.824</c:v>
                </c:pt>
                <c:pt idx="2">
                  <c:v>8.2349999999999994</c:v>
                </c:pt>
                <c:pt idx="3">
                  <c:v>10.8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49-4665-8D58-5A3163CA2FEA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ČR/SR je součástí informační války, kterou vede Ruská federace, vůči západním zemím.</c:v>
                </c:pt>
              </c:strCache>
            </c:strRef>
          </c:tx>
          <c:spPr>
            <a:solidFill>
              <a:srgbClr val="002554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5</c:f>
              <c:strCache>
                <c:ptCount val="4"/>
                <c:pt idx="0">
                  <c:v>ČR apríl</c:v>
                </c:pt>
                <c:pt idx="1">
                  <c:v>ČR máj</c:v>
                </c:pt>
                <c:pt idx="2">
                  <c:v>ČR jún</c:v>
                </c:pt>
                <c:pt idx="3">
                  <c:v>ČR júl</c:v>
                </c:pt>
              </c:strCache>
            </c:strRef>
          </c:cat>
          <c:val>
            <c:numRef>
              <c:f>List1!$E$2:$E$5</c:f>
              <c:numCache>
                <c:formatCode>General</c:formatCode>
                <c:ptCount val="4"/>
                <c:pt idx="0">
                  <c:v>52.454000000000001</c:v>
                </c:pt>
                <c:pt idx="1">
                  <c:v>51.116</c:v>
                </c:pt>
                <c:pt idx="2">
                  <c:v>46.332000000000001</c:v>
                </c:pt>
                <c:pt idx="3">
                  <c:v>45.319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C49-4665-8D58-5A3163CA2F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13165839"/>
        <c:axId val="913156271"/>
      </c:barChart>
      <c:catAx>
        <c:axId val="9131658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Z"/>
          </a:p>
        </c:txPr>
        <c:crossAx val="913156271"/>
        <c:crosses val="autoZero"/>
        <c:auto val="1"/>
        <c:lblAlgn val="ctr"/>
        <c:lblOffset val="100"/>
        <c:noMultiLvlLbl val="0"/>
      </c:catAx>
      <c:valAx>
        <c:axId val="9131562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Z"/>
          </a:p>
        </c:txPr>
        <c:crossAx val="9131658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75983114016364"/>
          <c:y val="3.3469164615064009E-2"/>
          <c:w val="0.51344512261149267"/>
          <c:h val="0.8523795583694111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Neviem, nedokážem povedať</c:v>
                </c:pt>
              </c:strCache>
            </c:strRef>
          </c:tx>
          <c:spPr>
            <a:solidFill>
              <a:srgbClr val="D4D4D4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ČR
březen</c:v>
                </c:pt>
              </c:strCache>
            </c:strRef>
          </c:cat>
          <c:val>
            <c:numRef>
              <c:f>List1!$B$2</c:f>
              <c:numCache>
                <c:formatCode>General</c:formatCode>
                <c:ptCount val="1"/>
                <c:pt idx="0">
                  <c:v>30.245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92-4782-A7A9-3837991B9AB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Informačná vojna je len zámienkou západných vlád, vrátane tej našej, na obmedzovanie slobody prejavu a nepohodlných médií.</c:v>
                </c:pt>
              </c:strCache>
            </c:strRef>
          </c:tx>
          <c:spPr>
            <a:solidFill>
              <a:srgbClr val="004E4E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ČR
březen</c:v>
                </c:pt>
              </c:strCache>
            </c:strRef>
          </c:cat>
          <c:val>
            <c:numRef>
              <c:f>List1!$C$2</c:f>
              <c:numCache>
                <c:formatCode>General</c:formatCode>
                <c:ptCount val="1"/>
                <c:pt idx="0">
                  <c:v>23.835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492-4782-A7A9-3837991B9ABC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ČR sa informačná vojna netýka protože súčasný konflikt sa obmedzuje len na Ukrajinu a Rusko vrátane rôznych dezinformačných kampaní.</c:v>
                </c:pt>
              </c:strCache>
            </c:strRef>
          </c:tx>
          <c:spPr>
            <a:solidFill>
              <a:srgbClr val="728F8E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ČR
březen</c:v>
                </c:pt>
              </c:strCache>
            </c:strRef>
          </c:cat>
          <c:val>
            <c:numRef>
              <c:f>List1!$D$2</c:f>
              <c:numCache>
                <c:formatCode>General</c:formatCode>
                <c:ptCount val="1"/>
                <c:pt idx="0">
                  <c:v>8.9789999999999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92-4782-A7A9-3837991B9ABC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ČR je súčasťou informačnej vojny ktorú vedie Rusko voči západným krajinám.</c:v>
                </c:pt>
              </c:strCache>
            </c:strRef>
          </c:tx>
          <c:spPr>
            <a:solidFill>
              <a:srgbClr val="002554"/>
            </a:solidFill>
            <a:ln>
              <a:noFill/>
            </a:ln>
            <a:effectLst/>
          </c:spPr>
          <c:invertIfNegative val="0"/>
          <c:dLbls>
            <c:numFmt formatCode="#,##0&quot;%&quot;;\-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ČR
březen</c:v>
                </c:pt>
              </c:strCache>
            </c:strRef>
          </c:cat>
          <c:val>
            <c:numRef>
              <c:f>List1!$E$2</c:f>
              <c:numCache>
                <c:formatCode>General</c:formatCode>
                <c:ptCount val="1"/>
                <c:pt idx="0">
                  <c:v>36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492-4782-A7A9-3837991B9A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13165839"/>
        <c:axId val="913156271"/>
      </c:barChart>
      <c:catAx>
        <c:axId val="9131658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Z"/>
          </a:p>
        </c:txPr>
        <c:crossAx val="913156271"/>
        <c:crosses val="autoZero"/>
        <c:auto val="1"/>
        <c:lblAlgn val="ctr"/>
        <c:lblOffset val="100"/>
        <c:noMultiLvlLbl val="0"/>
      </c:catAx>
      <c:valAx>
        <c:axId val="9131562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CZ"/>
          </a:p>
        </c:txPr>
        <c:crossAx val="9131658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5811265034364264"/>
          <c:y val="2.239479540958229E-2"/>
          <c:w val="0.32824903350515466"/>
          <c:h val="0.975260333266274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92D534-B974-4760-86F4-F05073FAA40C}" type="datetimeFigureOut">
              <a:rPr lang="cs-CZ" smtClean="0"/>
              <a:pPr/>
              <a:t>17.03.2023</a:t>
            </a:fld>
            <a:endParaRPr lang="cs-CZ" dirty="0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1254B1-55D3-406F-BCAA-9CD0B79F27E7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9857082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E51E23-EB4A-440C-969E-EE9D6D626A15}" type="datetimeFigureOut">
              <a:rPr lang="cs-CZ" smtClean="0"/>
              <a:pPr/>
              <a:t>17.03.2023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D91549-E5CD-497E-ABAA-6CECD864B536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198694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CC4EBF-9A35-4D09-9416-862FC724BB93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00631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6.sv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6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.png"/><Relationship Id="rId4" Type="http://schemas.openxmlformats.org/officeDocument/2006/relationships/image" Target="../media/image6.sv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page">
    <p:bg>
      <p:bgPr>
        <a:solidFill>
          <a:srgbClr val="0025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 dirty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46" name="Connecteur droit 26">
            <a:extLst>
              <a:ext uri="{FF2B5EF4-FFF2-40B4-BE49-F238E27FC236}">
                <a16:creationId xmlns:a16="http://schemas.microsoft.com/office/drawing/2014/main" id="{D919C3F5-58B8-482D-BEAA-A218DE89B9C2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 dirty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4819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e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C300C43C-3D53-4B44-AA6D-BF6CA8E53D4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9955F9D6-7445-4E5B-AAAA-4AF9018061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50E3508E-9631-4CCB-896C-19A94526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5292530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g_text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0" name="Zástupný symbol pro obsah 10">
            <a:extLst>
              <a:ext uri="{FF2B5EF4-FFF2-40B4-BE49-F238E27FC236}">
                <a16:creationId xmlns:a16="http://schemas.microsoft.com/office/drawing/2014/main" id="{DDC4E762-56D8-4B3B-9A49-64654B96E33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3" name="Zástupný symbol pro číslo snímku 5">
            <a:extLst>
              <a:ext uri="{FF2B5EF4-FFF2-40B4-BE49-F238E27FC236}">
                <a16:creationId xmlns:a16="http://schemas.microsoft.com/office/drawing/2014/main" id="{CBE7C74D-C588-4E20-B5A3-EB628CAEE02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Zástupný nadpis 1">
            <a:extLst>
              <a:ext uri="{FF2B5EF4-FFF2-40B4-BE49-F238E27FC236}">
                <a16:creationId xmlns:a16="http://schemas.microsoft.com/office/drawing/2014/main" id="{8092B74C-9F23-438F-92F8-7351E6922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5" name="Zástupný text 11">
            <a:extLst>
              <a:ext uri="{FF2B5EF4-FFF2-40B4-BE49-F238E27FC236}">
                <a16:creationId xmlns:a16="http://schemas.microsoft.com/office/drawing/2014/main" id="{4A2D4B60-D5DB-4E59-B9C5-BDED2AFBAE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1655836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_charts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A46B841C-B512-4D08-AAEB-09BFAE8326D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33799258-4236-4658-815F-E7080FA87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C6B3171-7812-4680-876B-115FFA49D08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51946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_charts_title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64E8F316-F2EE-49A3-8438-91B59E3E2B5E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1304360A-A1E8-449E-A7C8-198584CC3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F4A47D0-AA52-4488-BD10-1A3F4CB02B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Zástupný text 11">
            <a:extLst>
              <a:ext uri="{FF2B5EF4-FFF2-40B4-BE49-F238E27FC236}">
                <a16:creationId xmlns:a16="http://schemas.microsoft.com/office/drawing/2014/main" id="{A1B5BF6E-DF2C-4C30-A85A-D728340BB3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781642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366507" y="3344014"/>
            <a:ext cx="9457547" cy="1083375"/>
          </a:xfrm>
          <a:prstGeom prst="rect">
            <a:avLst/>
          </a:prstGeom>
        </p:spPr>
        <p:txBody>
          <a:bodyPr lIns="36000" tIns="0" rIns="36000" bIns="0" anchor="b">
            <a:noAutofit/>
          </a:bodyPr>
          <a:lstStyle>
            <a:lvl1pPr>
              <a:lnSpc>
                <a:spcPct val="80000"/>
              </a:lnSpc>
              <a:spcBef>
                <a:spcPts val="1219"/>
              </a:spcBef>
              <a:defRPr sz="6000" cap="all" baseline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omething</a:t>
            </a:r>
            <a:endParaRPr lang="en-GB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366507" y="2476736"/>
            <a:ext cx="9457547" cy="829179"/>
          </a:xfrm>
          <a:prstGeom prst="rect">
            <a:avLst/>
          </a:prstGeom>
        </p:spPr>
        <p:txBody>
          <a:bodyPr lIns="36000" tIns="0" rIns="36000" bIns="0" anchor="b">
            <a:normAutofit/>
          </a:bodyPr>
          <a:lstStyle>
            <a:lvl1pPr marL="0" indent="0">
              <a:spcBef>
                <a:spcPts val="1828"/>
              </a:spcBef>
              <a:buNone/>
              <a:defRPr sz="2400" b="1" cap="none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omething</a:t>
            </a:r>
          </a:p>
        </p:txBody>
      </p:sp>
      <p:sp>
        <p:nvSpPr>
          <p:cNvPr id="5" name="Zástupný symbol pro číslo snímku 5">
            <a:extLst>
              <a:ext uri="{FF2B5EF4-FFF2-40B4-BE49-F238E27FC236}">
                <a16:creationId xmlns:a16="http://schemas.microsoft.com/office/drawing/2014/main" id="{B0D94F78-BC14-4930-BD5B-7E1E3C564CB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332508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p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BD9ECF6-37B6-477F-B746-54CAAD9AF9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4" y="2816932"/>
            <a:ext cx="840275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GB" dirty="0"/>
          </a:p>
        </p:txBody>
      </p:sp>
      <p:sp>
        <p:nvSpPr>
          <p:cNvPr id="11" name="Espace réservé du texte 11">
            <a:extLst>
              <a:ext uri="{FF2B5EF4-FFF2-40B4-BE49-F238E27FC236}">
                <a16:creationId xmlns:a16="http://schemas.microsoft.com/office/drawing/2014/main" id="{0C4D3036-8ECE-4179-A12A-C026ACF3BC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50892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6888"/>
              </a:spcBef>
              <a:buNone/>
              <a:defRPr sz="28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6" name="Forme libre : forme 12">
            <a:extLst>
              <a:ext uri="{FF2B5EF4-FFF2-40B4-BE49-F238E27FC236}">
                <a16:creationId xmlns:a16="http://schemas.microsoft.com/office/drawing/2014/main" id="{205BD723-D061-4616-984C-0CD7519FCDB8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8" name="Forme libre : forme 13">
            <a:extLst>
              <a:ext uri="{FF2B5EF4-FFF2-40B4-BE49-F238E27FC236}">
                <a16:creationId xmlns:a16="http://schemas.microsoft.com/office/drawing/2014/main" id="{4190C1DC-A51F-478B-968C-050C62D5E9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2D1A3439-75DD-48EB-A441-C113E87CB0B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371" y="459718"/>
            <a:ext cx="8402757" cy="707886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960"/>
              </a:spcBef>
              <a:buNone/>
              <a:defRPr sz="40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SLIDE TITLE</a:t>
            </a:r>
            <a:endParaRPr lang="en-GB" dirty="0"/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B55BBE8C-D3A5-4128-985D-382E03F9B7A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196349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2">
            <a:extLst>
              <a:ext uri="{FF2B5EF4-FFF2-40B4-BE49-F238E27FC236}">
                <a16:creationId xmlns:a16="http://schemas.microsoft.com/office/drawing/2014/main" id="{E19D5A77-3F17-40D6-9208-CADFA9BB7E5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387768" y="1756954"/>
            <a:ext cx="1620000" cy="1620000"/>
          </a:xfrm>
          <a:prstGeom prst="ellipse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photo</a:t>
            </a:r>
          </a:p>
        </p:txBody>
      </p:sp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8DB7CF4E-A978-4373-B314-E5D811A794F0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A4369984-AE3E-4E92-B72D-2F9B05A92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E6C4F9C8-493D-45A4-A325-E777EF2F74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9720833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page">
    <p:bg>
      <p:bgPr>
        <a:solidFill>
          <a:srgbClr val="0025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 dirty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46" name="Connecteur droit 26">
            <a:extLst>
              <a:ext uri="{FF2B5EF4-FFF2-40B4-BE49-F238E27FC236}">
                <a16:creationId xmlns:a16="http://schemas.microsoft.com/office/drawing/2014/main" id="{D919C3F5-58B8-482D-BEAA-A218DE89B9C2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 dirty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9842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ront page">
    <p:bg>
      <p:bgPr>
        <a:blipFill dpi="0" rotWithShape="1">
          <a:blip r:embed="rId2">
            <a:lum/>
          </a:blip>
          <a:srcRect/>
          <a:stretch>
            <a:fillRect t="-14000" b="-1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Name of the speaker</a:t>
            </a:r>
          </a:p>
        </p:txBody>
      </p:sp>
      <p:cxnSp>
        <p:nvCxnSpPr>
          <p:cNvPr id="46" name="Connecteur droit 26">
            <a:extLst>
              <a:ext uri="{FF2B5EF4-FFF2-40B4-BE49-F238E27FC236}">
                <a16:creationId xmlns:a16="http://schemas.microsoft.com/office/drawing/2014/main" id="{D919C3F5-58B8-482D-BEAA-A218DE89B9C2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buFontTx/>
              <a:buNone/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2605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5">
            <a:extLst>
              <a:ext uri="{FF2B5EF4-FFF2-40B4-BE49-F238E27FC236}">
                <a16:creationId xmlns:a16="http://schemas.microsoft.com/office/drawing/2014/main" id="{FD5E860C-4B49-49F8-BDBA-E5820723608D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Zástupný nadpis 1">
            <a:extLst>
              <a:ext uri="{FF2B5EF4-FFF2-40B4-BE49-F238E27FC236}">
                <a16:creationId xmlns:a16="http://schemas.microsoft.com/office/drawing/2014/main" id="{9D4E53DC-BE8D-443A-A135-866C3F945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4071846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ront pag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Name of the speaker</a:t>
            </a:r>
          </a:p>
        </p:txBody>
      </p:sp>
      <p:cxnSp>
        <p:nvCxnSpPr>
          <p:cNvPr id="46" name="Connecteur droit 26">
            <a:extLst>
              <a:ext uri="{FF2B5EF4-FFF2-40B4-BE49-F238E27FC236}">
                <a16:creationId xmlns:a16="http://schemas.microsoft.com/office/drawing/2014/main" id="{D919C3F5-58B8-482D-BEAA-A218DE89B9C2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buFontTx/>
              <a:buNone/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7968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obsah 10">
            <a:extLst>
              <a:ext uri="{FF2B5EF4-FFF2-40B4-BE49-F238E27FC236}">
                <a16:creationId xmlns:a16="http://schemas.microsoft.com/office/drawing/2014/main" id="{CA6A2266-BF2A-4C84-80B0-AC22D720321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32C3F233-6D86-44EA-88A6-7C0DF09152C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5A572D27-0EFE-4DA2-A740-E68865D3A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8923423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text 11">
            <a:extLst>
              <a:ext uri="{FF2B5EF4-FFF2-40B4-BE49-F238E27FC236}">
                <a16:creationId xmlns:a16="http://schemas.microsoft.com/office/drawing/2014/main" id="{D75B9138-CC83-4560-8013-7172DC0AD3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FDBD8B65-002E-457B-81D4-568AF849A79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FB7DCFB9-985E-43F8-BAC9-BD2F23ADF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3201955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g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obsah 10">
            <a:extLst>
              <a:ext uri="{FF2B5EF4-FFF2-40B4-BE49-F238E27FC236}">
                <a16:creationId xmlns:a16="http://schemas.microsoft.com/office/drawing/2014/main" id="{EDF33C54-350E-0D47-9B72-9C08487EAC1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48B9EBD2-4EB8-4902-A465-C065CF478335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19F35C4A-73BC-408E-B5BD-D4506E1BA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EF09560A-B2DA-46D7-A56B-3D06EECF1B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1913399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Zástupný symbol pro číslo snímku 5">
            <a:extLst>
              <a:ext uri="{FF2B5EF4-FFF2-40B4-BE49-F238E27FC236}">
                <a16:creationId xmlns:a16="http://schemas.microsoft.com/office/drawing/2014/main" id="{DE067373-992F-4DC6-BB5A-4CA5D60592E1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Zástupný nadpis 1">
            <a:extLst>
              <a:ext uri="{FF2B5EF4-FFF2-40B4-BE49-F238E27FC236}">
                <a16:creationId xmlns:a16="http://schemas.microsoft.com/office/drawing/2014/main" id="{909DE12B-B592-403A-8243-2E494B9E7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40549478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0">
            <a:extLst>
              <a:ext uri="{FF2B5EF4-FFF2-40B4-BE49-F238E27FC236}">
                <a16:creationId xmlns:a16="http://schemas.microsoft.com/office/drawing/2014/main" id="{3AAA38DB-6D26-43F5-948F-5A3E7269C1C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4" name="Cadre 7">
            <a:extLst>
              <a:ext uri="{FF2B5EF4-FFF2-40B4-BE49-F238E27FC236}">
                <a16:creationId xmlns:a16="http://schemas.microsoft.com/office/drawing/2014/main" id="{048241AB-3104-4748-A476-1E2517C8C1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21043B53-B1DE-41AB-B42E-89E061A17C86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CDDFDD2A-4869-43E4-85C9-513A9BE48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40546029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e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C300C43C-3D53-4B44-AA6D-BF6CA8E53D4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9955F9D6-7445-4E5B-AAAA-4AF9018061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50E3508E-9631-4CCB-896C-19A94526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3226640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g_text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0" name="Zástupný symbol pro obsah 10">
            <a:extLst>
              <a:ext uri="{FF2B5EF4-FFF2-40B4-BE49-F238E27FC236}">
                <a16:creationId xmlns:a16="http://schemas.microsoft.com/office/drawing/2014/main" id="{DDC4E762-56D8-4B3B-9A49-64654B96E33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3" name="Zástupný symbol pro číslo snímku 5">
            <a:extLst>
              <a:ext uri="{FF2B5EF4-FFF2-40B4-BE49-F238E27FC236}">
                <a16:creationId xmlns:a16="http://schemas.microsoft.com/office/drawing/2014/main" id="{CBE7C74D-C588-4E20-B5A3-EB628CAEE02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Zástupný nadpis 1">
            <a:extLst>
              <a:ext uri="{FF2B5EF4-FFF2-40B4-BE49-F238E27FC236}">
                <a16:creationId xmlns:a16="http://schemas.microsoft.com/office/drawing/2014/main" id="{8092B74C-9F23-438F-92F8-7351E6922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5" name="Zástupný text 11">
            <a:extLst>
              <a:ext uri="{FF2B5EF4-FFF2-40B4-BE49-F238E27FC236}">
                <a16:creationId xmlns:a16="http://schemas.microsoft.com/office/drawing/2014/main" id="{4A2D4B60-D5DB-4E59-B9C5-BDED2AFBAE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685702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_charts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A46B841C-B512-4D08-AAEB-09BFAE8326D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33799258-4236-4658-815F-E7080FA87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C6B3171-7812-4680-876B-115FFA49D08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2445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_charts_title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64E8F316-F2EE-49A3-8438-91B59E3E2B5E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1304360A-A1E8-449E-A7C8-198584CC3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F4A47D0-AA52-4488-BD10-1A3F4CB02B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Zástupný text 11">
            <a:extLst>
              <a:ext uri="{FF2B5EF4-FFF2-40B4-BE49-F238E27FC236}">
                <a16:creationId xmlns:a16="http://schemas.microsoft.com/office/drawing/2014/main" id="{A1B5BF6E-DF2C-4C30-A85A-D728340BB3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7460752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366507" y="3344014"/>
            <a:ext cx="9457547" cy="1083375"/>
          </a:xfrm>
          <a:prstGeom prst="rect">
            <a:avLst/>
          </a:prstGeom>
        </p:spPr>
        <p:txBody>
          <a:bodyPr lIns="36000" tIns="0" rIns="36000" bIns="0" anchor="b">
            <a:noAutofit/>
          </a:bodyPr>
          <a:lstStyle>
            <a:lvl1pPr>
              <a:lnSpc>
                <a:spcPct val="80000"/>
              </a:lnSpc>
              <a:spcBef>
                <a:spcPts val="1219"/>
              </a:spcBef>
              <a:defRPr sz="6000" cap="all" baseline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omething</a:t>
            </a:r>
            <a:endParaRPr lang="en-GB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366507" y="2476736"/>
            <a:ext cx="9457547" cy="829179"/>
          </a:xfrm>
          <a:prstGeom prst="rect">
            <a:avLst/>
          </a:prstGeom>
        </p:spPr>
        <p:txBody>
          <a:bodyPr lIns="36000" tIns="0" rIns="36000" bIns="0" anchor="b">
            <a:normAutofit/>
          </a:bodyPr>
          <a:lstStyle>
            <a:lvl1pPr marL="0" indent="0">
              <a:spcBef>
                <a:spcPts val="1828"/>
              </a:spcBef>
              <a:buNone/>
              <a:defRPr sz="2400" b="1" cap="none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omething</a:t>
            </a:r>
          </a:p>
        </p:txBody>
      </p:sp>
      <p:sp>
        <p:nvSpPr>
          <p:cNvPr id="5" name="Zástupný symbol pro číslo snímku 5">
            <a:extLst>
              <a:ext uri="{FF2B5EF4-FFF2-40B4-BE49-F238E27FC236}">
                <a16:creationId xmlns:a16="http://schemas.microsoft.com/office/drawing/2014/main" id="{B0D94F78-BC14-4930-BD5B-7E1E3C564CB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54589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5">
            <a:extLst>
              <a:ext uri="{FF2B5EF4-FFF2-40B4-BE49-F238E27FC236}">
                <a16:creationId xmlns:a16="http://schemas.microsoft.com/office/drawing/2014/main" id="{FD5E860C-4B49-49F8-BDBA-E5820723608D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Zástupný nadpis 1">
            <a:extLst>
              <a:ext uri="{FF2B5EF4-FFF2-40B4-BE49-F238E27FC236}">
                <a16:creationId xmlns:a16="http://schemas.microsoft.com/office/drawing/2014/main" id="{9D4E53DC-BE8D-443A-A135-866C3F945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17329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p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BD9ECF6-37B6-477F-B746-54CAAD9AF9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4" y="2816932"/>
            <a:ext cx="840275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GB" dirty="0"/>
          </a:p>
        </p:txBody>
      </p:sp>
      <p:sp>
        <p:nvSpPr>
          <p:cNvPr id="11" name="Espace réservé du texte 11">
            <a:extLst>
              <a:ext uri="{FF2B5EF4-FFF2-40B4-BE49-F238E27FC236}">
                <a16:creationId xmlns:a16="http://schemas.microsoft.com/office/drawing/2014/main" id="{0C4D3036-8ECE-4179-A12A-C026ACF3BC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50892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6888"/>
              </a:spcBef>
              <a:buNone/>
              <a:defRPr sz="28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6" name="Forme libre : forme 12">
            <a:extLst>
              <a:ext uri="{FF2B5EF4-FFF2-40B4-BE49-F238E27FC236}">
                <a16:creationId xmlns:a16="http://schemas.microsoft.com/office/drawing/2014/main" id="{205BD723-D061-4616-984C-0CD7519FCDB8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8" name="Forme libre : forme 13">
            <a:extLst>
              <a:ext uri="{FF2B5EF4-FFF2-40B4-BE49-F238E27FC236}">
                <a16:creationId xmlns:a16="http://schemas.microsoft.com/office/drawing/2014/main" id="{4190C1DC-A51F-478B-968C-050C62D5E9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2D1A3439-75DD-48EB-A441-C113E87CB0B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371" y="459718"/>
            <a:ext cx="8402757" cy="707886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960"/>
              </a:spcBef>
              <a:buNone/>
              <a:defRPr sz="40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SLIDE TITLE</a:t>
            </a:r>
            <a:endParaRPr lang="en-GB" dirty="0"/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B55BBE8C-D3A5-4128-985D-382E03F9B7A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409280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2">
            <a:extLst>
              <a:ext uri="{FF2B5EF4-FFF2-40B4-BE49-F238E27FC236}">
                <a16:creationId xmlns:a16="http://schemas.microsoft.com/office/drawing/2014/main" id="{E19D5A77-3F17-40D6-9208-CADFA9BB7E5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387768" y="1756954"/>
            <a:ext cx="1620000" cy="1620000"/>
          </a:xfrm>
          <a:prstGeom prst="ellipse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photo</a:t>
            </a:r>
          </a:p>
        </p:txBody>
      </p:sp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8DB7CF4E-A978-4373-B314-E5D811A794F0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A4369984-AE3E-4E92-B72D-2F9B05A92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E6C4F9C8-493D-45A4-A325-E777EF2F74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593225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Freeform 49"/>
          <p:cNvSpPr>
            <a:spLocks/>
          </p:cNvSpPr>
          <p:nvPr userDrawn="1"/>
        </p:nvSpPr>
        <p:spPr bwMode="ltGray">
          <a:xfrm>
            <a:off x="143095" y="1060"/>
            <a:ext cx="11239387" cy="6855841"/>
          </a:xfrm>
          <a:custGeom>
            <a:avLst/>
            <a:gdLst>
              <a:gd name="T0" fmla="*/ 3262 w 6320"/>
              <a:gd name="T1" fmla="*/ 4762 h 4762"/>
              <a:gd name="T2" fmla="*/ 0 w 6320"/>
              <a:gd name="T3" fmla="*/ 4762 h 4762"/>
              <a:gd name="T4" fmla="*/ 0 w 6320"/>
              <a:gd name="T5" fmla="*/ 0 h 4762"/>
              <a:gd name="T6" fmla="*/ 6320 w 6320"/>
              <a:gd name="T7" fmla="*/ 0 h 4762"/>
              <a:gd name="T8" fmla="*/ 3262 w 6320"/>
              <a:gd name="T9" fmla="*/ 4762 h 47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320" h="4762">
                <a:moveTo>
                  <a:pt x="3262" y="4762"/>
                </a:moveTo>
                <a:lnTo>
                  <a:pt x="0" y="4762"/>
                </a:lnTo>
                <a:lnTo>
                  <a:pt x="0" y="0"/>
                </a:lnTo>
                <a:lnTo>
                  <a:pt x="6320" y="0"/>
                </a:lnTo>
                <a:lnTo>
                  <a:pt x="3262" y="476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811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</a:endParaRPr>
          </a:p>
        </p:txBody>
      </p:sp>
      <p:sp>
        <p:nvSpPr>
          <p:cNvPr id="73" name="Arc 3"/>
          <p:cNvSpPr/>
          <p:nvPr userDrawn="1"/>
        </p:nvSpPr>
        <p:spPr>
          <a:xfrm>
            <a:off x="1" y="1"/>
            <a:ext cx="2368551" cy="5668963"/>
          </a:xfrm>
          <a:custGeom>
            <a:avLst/>
            <a:gdLst/>
            <a:ahLst/>
            <a:cxnLst/>
            <a:rect l="l" t="t" r="r" b="b"/>
            <a:pathLst>
              <a:path w="1777200" h="5668420">
                <a:moveTo>
                  <a:pt x="0" y="0"/>
                </a:moveTo>
                <a:lnTo>
                  <a:pt x="1768724" y="0"/>
                </a:lnTo>
                <a:cubicBezTo>
                  <a:pt x="1842864" y="1684551"/>
                  <a:pt x="1430582" y="3384278"/>
                  <a:pt x="535352" y="4882011"/>
                </a:cubicBezTo>
                <a:cubicBezTo>
                  <a:pt x="371375" y="5156347"/>
                  <a:pt x="193756" y="5419621"/>
                  <a:pt x="0" y="5668420"/>
                </a:cubicBez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74" name="Group 4"/>
          <p:cNvGrpSpPr>
            <a:grpSpLocks noChangeAspect="1"/>
          </p:cNvGrpSpPr>
          <p:nvPr userDrawn="1"/>
        </p:nvGrpSpPr>
        <p:grpSpPr bwMode="auto">
          <a:xfrm>
            <a:off x="508000" y="508001"/>
            <a:ext cx="1439333" cy="1291167"/>
            <a:chOff x="1352" y="681"/>
            <a:chExt cx="3519" cy="3153"/>
          </a:xfrm>
        </p:grpSpPr>
        <p:sp>
          <p:nvSpPr>
            <p:cNvPr id="75" name="Freeform 5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15 h 3449"/>
                <a:gd name="T2" fmla="*/ 0 w 3862"/>
                <a:gd name="T3" fmla="*/ 215 h 3449"/>
                <a:gd name="T4" fmla="*/ 0 w 3862"/>
                <a:gd name="T5" fmla="*/ 0 h 3449"/>
                <a:gd name="T6" fmla="*/ 207 w 3862"/>
                <a:gd name="T7" fmla="*/ 0 h 3449"/>
                <a:gd name="T8" fmla="*/ 186 w 3862"/>
                <a:gd name="T9" fmla="*/ 215 h 3449"/>
                <a:gd name="T10" fmla="*/ 0 w 3862"/>
                <a:gd name="T11" fmla="*/ 215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862"/>
                <a:gd name="T19" fmla="*/ 0 h 3449"/>
                <a:gd name="T20" fmla="*/ 3862 w 3862"/>
                <a:gd name="T21" fmla="*/ 3449 h 344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76" name="Freeform 6"/>
            <p:cNvSpPr>
              <a:spLocks noChangeAspect="1"/>
            </p:cNvSpPr>
            <p:nvPr/>
          </p:nvSpPr>
          <p:spPr bwMode="auto">
            <a:xfrm>
              <a:off x="2708" y="1843"/>
              <a:ext cx="75" cy="54"/>
            </a:xfrm>
            <a:custGeom>
              <a:avLst/>
              <a:gdLst>
                <a:gd name="T0" fmla="*/ 6 w 81"/>
                <a:gd name="T1" fmla="*/ 2 h 66"/>
                <a:gd name="T2" fmla="*/ 6 w 81"/>
                <a:gd name="T3" fmla="*/ 2 h 66"/>
                <a:gd name="T4" fmla="*/ 0 w 81"/>
                <a:gd name="T5" fmla="*/ 2 h 66"/>
                <a:gd name="T6" fmla="*/ 6 w 81"/>
                <a:gd name="T7" fmla="*/ 2 h 66"/>
                <a:gd name="T8" fmla="*/ 7 w 81"/>
                <a:gd name="T9" fmla="*/ 0 h 66"/>
                <a:gd name="T10" fmla="*/ 6 w 81"/>
                <a:gd name="T11" fmla="*/ 2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1"/>
                <a:gd name="T19" fmla="*/ 0 h 66"/>
                <a:gd name="T20" fmla="*/ 81 w 81"/>
                <a:gd name="T21" fmla="*/ 66 h 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77" name="Freeform 7"/>
            <p:cNvSpPr>
              <a:spLocks noChangeAspect="1"/>
            </p:cNvSpPr>
            <p:nvPr/>
          </p:nvSpPr>
          <p:spPr bwMode="auto">
            <a:xfrm>
              <a:off x="2869" y="1972"/>
              <a:ext cx="65" cy="54"/>
            </a:xfrm>
            <a:custGeom>
              <a:avLst/>
              <a:gdLst>
                <a:gd name="T0" fmla="*/ 2 w 81"/>
                <a:gd name="T1" fmla="*/ 1 h 63"/>
                <a:gd name="T2" fmla="*/ 2 w 81"/>
                <a:gd name="T3" fmla="*/ 1 h 63"/>
                <a:gd name="T4" fmla="*/ 0 w 81"/>
                <a:gd name="T5" fmla="*/ 0 h 63"/>
                <a:gd name="T6" fmla="*/ 2 w 81"/>
                <a:gd name="T7" fmla="*/ 3 h 63"/>
                <a:gd name="T8" fmla="*/ 2 w 81"/>
                <a:gd name="T9" fmla="*/ 3 h 63"/>
                <a:gd name="T10" fmla="*/ 2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1"/>
                <a:gd name="T19" fmla="*/ 0 h 63"/>
                <a:gd name="T20" fmla="*/ 81 w 81"/>
                <a:gd name="T21" fmla="*/ 63 h 6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78" name="Freeform 8"/>
            <p:cNvSpPr>
              <a:spLocks noChangeAspect="1"/>
            </p:cNvSpPr>
            <p:nvPr/>
          </p:nvSpPr>
          <p:spPr bwMode="auto">
            <a:xfrm>
              <a:off x="2622" y="1413"/>
              <a:ext cx="86" cy="75"/>
            </a:xfrm>
            <a:custGeom>
              <a:avLst/>
              <a:gdLst>
                <a:gd name="T0" fmla="*/ 4 w 96"/>
                <a:gd name="T1" fmla="*/ 9 h 79"/>
                <a:gd name="T2" fmla="*/ 4 w 96"/>
                <a:gd name="T3" fmla="*/ 9 h 79"/>
                <a:gd name="T4" fmla="*/ 0 w 96"/>
                <a:gd name="T5" fmla="*/ 13 h 79"/>
                <a:gd name="T6" fmla="*/ 4 w 96"/>
                <a:gd name="T7" fmla="*/ 9 h 79"/>
                <a:gd name="T8" fmla="*/ 4 w 96"/>
                <a:gd name="T9" fmla="*/ 0 h 79"/>
                <a:gd name="T10" fmla="*/ 4 w 96"/>
                <a:gd name="T11" fmla="*/ 9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6"/>
                <a:gd name="T19" fmla="*/ 0 h 79"/>
                <a:gd name="T20" fmla="*/ 96 w 96"/>
                <a:gd name="T21" fmla="*/ 79 h 7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79" name="Freeform 9"/>
            <p:cNvSpPr>
              <a:spLocks noChangeAspect="1"/>
            </p:cNvSpPr>
            <p:nvPr/>
          </p:nvSpPr>
          <p:spPr bwMode="auto">
            <a:xfrm>
              <a:off x="2568" y="1563"/>
              <a:ext cx="75" cy="76"/>
            </a:xfrm>
            <a:custGeom>
              <a:avLst/>
              <a:gdLst>
                <a:gd name="T0" fmla="*/ 36 w 77"/>
                <a:gd name="T1" fmla="*/ 22 h 77"/>
                <a:gd name="T2" fmla="*/ 36 w 77"/>
                <a:gd name="T3" fmla="*/ 22 h 77"/>
                <a:gd name="T4" fmla="*/ 33 w 77"/>
                <a:gd name="T5" fmla="*/ 0 h 77"/>
                <a:gd name="T6" fmla="*/ 0 w 77"/>
                <a:gd name="T7" fmla="*/ 38 h 77"/>
                <a:gd name="T8" fmla="*/ 0 w 77"/>
                <a:gd name="T9" fmla="*/ 38 h 77"/>
                <a:gd name="T10" fmla="*/ 36 w 77"/>
                <a:gd name="T11" fmla="*/ 22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7"/>
                <a:gd name="T19" fmla="*/ 0 h 77"/>
                <a:gd name="T20" fmla="*/ 77 w 77"/>
                <a:gd name="T21" fmla="*/ 77 h 7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80" name="Freeform 10"/>
            <p:cNvSpPr>
              <a:spLocks noChangeAspect="1"/>
            </p:cNvSpPr>
            <p:nvPr/>
          </p:nvSpPr>
          <p:spPr bwMode="auto">
            <a:xfrm>
              <a:off x="2547" y="1725"/>
              <a:ext cx="86" cy="64"/>
            </a:xfrm>
            <a:custGeom>
              <a:avLst/>
              <a:gdLst>
                <a:gd name="T0" fmla="*/ 0 w 90"/>
                <a:gd name="T1" fmla="*/ 3 h 74"/>
                <a:gd name="T2" fmla="*/ 0 w 90"/>
                <a:gd name="T3" fmla="*/ 3 h 74"/>
                <a:gd name="T4" fmla="*/ 11 w 90"/>
                <a:gd name="T5" fmla="*/ 3 h 74"/>
                <a:gd name="T6" fmla="*/ 19 w 90"/>
                <a:gd name="T7" fmla="*/ 3 h 74"/>
                <a:gd name="T8" fmla="*/ 23 w 90"/>
                <a:gd name="T9" fmla="*/ 3 h 74"/>
                <a:gd name="T10" fmla="*/ 0 w 90"/>
                <a:gd name="T11" fmla="*/ 3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0"/>
                <a:gd name="T19" fmla="*/ 0 h 74"/>
                <a:gd name="T20" fmla="*/ 90 w 90"/>
                <a:gd name="T21" fmla="*/ 74 h 7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97" name="Freeform 11"/>
            <p:cNvSpPr>
              <a:spLocks noChangeAspect="1"/>
            </p:cNvSpPr>
            <p:nvPr/>
          </p:nvSpPr>
          <p:spPr bwMode="auto">
            <a:xfrm>
              <a:off x="2773" y="1176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28 h 72"/>
                <a:gd name="T6" fmla="*/ 45 w 88"/>
                <a:gd name="T7" fmla="*/ 172 h 72"/>
                <a:gd name="T8" fmla="*/ 46 w 88"/>
                <a:gd name="T9" fmla="*/ 74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8"/>
                <a:gd name="T19" fmla="*/ 0 h 72"/>
                <a:gd name="T20" fmla="*/ 88 w 88"/>
                <a:gd name="T21" fmla="*/ 72 h 7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98" name="Freeform 12"/>
            <p:cNvSpPr>
              <a:spLocks noChangeAspect="1"/>
            </p:cNvSpPr>
            <p:nvPr/>
          </p:nvSpPr>
          <p:spPr bwMode="auto">
            <a:xfrm>
              <a:off x="2955" y="1111"/>
              <a:ext cx="76" cy="87"/>
            </a:xfrm>
            <a:custGeom>
              <a:avLst/>
              <a:gdLst>
                <a:gd name="T0" fmla="*/ 4 w 86"/>
                <a:gd name="T1" fmla="*/ 7 h 92"/>
                <a:gd name="T2" fmla="*/ 4 w 86"/>
                <a:gd name="T3" fmla="*/ 7 h 92"/>
                <a:gd name="T4" fmla="*/ 4 w 86"/>
                <a:gd name="T5" fmla="*/ 0 h 92"/>
                <a:gd name="T6" fmla="*/ 4 w 86"/>
                <a:gd name="T7" fmla="*/ 11 h 92"/>
                <a:gd name="T8" fmla="*/ 4 w 86"/>
                <a:gd name="T9" fmla="*/ 17 h 92"/>
                <a:gd name="T10" fmla="*/ 4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6"/>
                <a:gd name="T19" fmla="*/ 0 h 92"/>
                <a:gd name="T20" fmla="*/ 86 w 86"/>
                <a:gd name="T21" fmla="*/ 92 h 9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99" name="Freeform 13"/>
            <p:cNvSpPr>
              <a:spLocks noChangeAspect="1" noEditPoints="1"/>
            </p:cNvSpPr>
            <p:nvPr/>
          </p:nvSpPr>
          <p:spPr bwMode="auto">
            <a:xfrm>
              <a:off x="3149" y="929"/>
              <a:ext cx="667" cy="1678"/>
            </a:xfrm>
            <a:custGeom>
              <a:avLst/>
              <a:gdLst>
                <a:gd name="T0" fmla="*/ 36 w 724"/>
                <a:gd name="T1" fmla="*/ 43 h 1845"/>
                <a:gd name="T2" fmla="*/ 36 w 724"/>
                <a:gd name="T3" fmla="*/ 43 h 1845"/>
                <a:gd name="T4" fmla="*/ 26 w 724"/>
                <a:gd name="T5" fmla="*/ 41 h 1845"/>
                <a:gd name="T6" fmla="*/ 38 w 724"/>
                <a:gd name="T7" fmla="*/ 39 h 1845"/>
                <a:gd name="T8" fmla="*/ 39 w 724"/>
                <a:gd name="T9" fmla="*/ 41 h 1845"/>
                <a:gd name="T10" fmla="*/ 36 w 724"/>
                <a:gd name="T11" fmla="*/ 43 h 1845"/>
                <a:gd name="T12" fmla="*/ 36 w 724"/>
                <a:gd name="T13" fmla="*/ 43 h 1845"/>
                <a:gd name="T14" fmla="*/ 50 w 724"/>
                <a:gd name="T15" fmla="*/ 45 h 1845"/>
                <a:gd name="T16" fmla="*/ 50 w 724"/>
                <a:gd name="T17" fmla="*/ 45 h 1845"/>
                <a:gd name="T18" fmla="*/ 46 w 724"/>
                <a:gd name="T19" fmla="*/ 37 h 1845"/>
                <a:gd name="T20" fmla="*/ 50 w 724"/>
                <a:gd name="T21" fmla="*/ 34 h 1845"/>
                <a:gd name="T22" fmla="*/ 50 w 724"/>
                <a:gd name="T23" fmla="*/ 25 h 1845"/>
                <a:gd name="T24" fmla="*/ 50 w 724"/>
                <a:gd name="T25" fmla="*/ 24 h 1845"/>
                <a:gd name="T26" fmla="*/ 50 w 724"/>
                <a:gd name="T27" fmla="*/ 22 h 1845"/>
                <a:gd name="T28" fmla="*/ 49 w 724"/>
                <a:gd name="T29" fmla="*/ 18 h 1845"/>
                <a:gd name="T30" fmla="*/ 46 w 724"/>
                <a:gd name="T31" fmla="*/ 15 h 1845"/>
                <a:gd name="T32" fmla="*/ 47 w 724"/>
                <a:gd name="T33" fmla="*/ 14 h 1845"/>
                <a:gd name="T34" fmla="*/ 44 w 724"/>
                <a:gd name="T35" fmla="*/ 13 h 1845"/>
                <a:gd name="T36" fmla="*/ 41 w 724"/>
                <a:gd name="T37" fmla="*/ 12 h 1845"/>
                <a:gd name="T38" fmla="*/ 41 w 724"/>
                <a:gd name="T39" fmla="*/ 10 h 1845"/>
                <a:gd name="T40" fmla="*/ 38 w 724"/>
                <a:gd name="T41" fmla="*/ 11 h 1845"/>
                <a:gd name="T42" fmla="*/ 38 w 724"/>
                <a:gd name="T43" fmla="*/ 8 h 1845"/>
                <a:gd name="T44" fmla="*/ 34 w 724"/>
                <a:gd name="T45" fmla="*/ 9 h 1845"/>
                <a:gd name="T46" fmla="*/ 32 w 724"/>
                <a:gd name="T47" fmla="*/ 5 h 1845"/>
                <a:gd name="T48" fmla="*/ 30 w 724"/>
                <a:gd name="T49" fmla="*/ 6 h 1845"/>
                <a:gd name="T50" fmla="*/ 28 w 724"/>
                <a:gd name="T51" fmla="*/ 8 h 1845"/>
                <a:gd name="T52" fmla="*/ 28 w 724"/>
                <a:gd name="T53" fmla="*/ 5 h 1845"/>
                <a:gd name="T54" fmla="*/ 27 w 724"/>
                <a:gd name="T55" fmla="*/ 5 h 1845"/>
                <a:gd name="T56" fmla="*/ 25 w 724"/>
                <a:gd name="T57" fmla="*/ 5 h 1845"/>
                <a:gd name="T58" fmla="*/ 22 w 724"/>
                <a:gd name="T59" fmla="*/ 5 h 1845"/>
                <a:gd name="T60" fmla="*/ 23 w 724"/>
                <a:gd name="T61" fmla="*/ 5 h 1845"/>
                <a:gd name="T62" fmla="*/ 19 w 724"/>
                <a:gd name="T63" fmla="*/ 5 h 1845"/>
                <a:gd name="T64" fmla="*/ 17 w 724"/>
                <a:gd name="T65" fmla="*/ 5 h 1845"/>
                <a:gd name="T66" fmla="*/ 21 w 724"/>
                <a:gd name="T67" fmla="*/ 5 h 1845"/>
                <a:gd name="T68" fmla="*/ 17 w 724"/>
                <a:gd name="T69" fmla="*/ 5 h 1845"/>
                <a:gd name="T70" fmla="*/ 14 w 724"/>
                <a:gd name="T71" fmla="*/ 5 h 1845"/>
                <a:gd name="T72" fmla="*/ 15 w 724"/>
                <a:gd name="T73" fmla="*/ 5 h 1845"/>
                <a:gd name="T74" fmla="*/ 14 w 724"/>
                <a:gd name="T75" fmla="*/ 5 h 1845"/>
                <a:gd name="T76" fmla="*/ 14 w 724"/>
                <a:gd name="T77" fmla="*/ 5 h 1845"/>
                <a:gd name="T78" fmla="*/ 12 w 724"/>
                <a:gd name="T79" fmla="*/ 5 h 1845"/>
                <a:gd name="T80" fmla="*/ 11 w 724"/>
                <a:gd name="T81" fmla="*/ 5 h 1845"/>
                <a:gd name="T82" fmla="*/ 6 w 724"/>
                <a:gd name="T83" fmla="*/ 5 h 1845"/>
                <a:gd name="T84" fmla="*/ 6 w 724"/>
                <a:gd name="T85" fmla="*/ 5 h 1845"/>
                <a:gd name="T86" fmla="*/ 6 w 724"/>
                <a:gd name="T87" fmla="*/ 5 h 1845"/>
                <a:gd name="T88" fmla="*/ 5 w 724"/>
                <a:gd name="T89" fmla="*/ 96 h 1845"/>
                <a:gd name="T90" fmla="*/ 0 w 724"/>
                <a:gd name="T91" fmla="*/ 96 h 1845"/>
                <a:gd name="T92" fmla="*/ 14 w 724"/>
                <a:gd name="T93" fmla="*/ 96 h 1845"/>
                <a:gd name="T94" fmla="*/ 42 w 724"/>
                <a:gd name="T95" fmla="*/ 96 h 1845"/>
                <a:gd name="T96" fmla="*/ 49 w 724"/>
                <a:gd name="T97" fmla="*/ 96 h 1845"/>
                <a:gd name="T98" fmla="*/ 33 w 724"/>
                <a:gd name="T99" fmla="*/ 95 h 1845"/>
                <a:gd name="T100" fmla="*/ 21 w 724"/>
                <a:gd name="T101" fmla="*/ 87 h 1845"/>
                <a:gd name="T102" fmla="*/ 18 w 724"/>
                <a:gd name="T103" fmla="*/ 84 h 1845"/>
                <a:gd name="T104" fmla="*/ 18 w 724"/>
                <a:gd name="T105" fmla="*/ 76 h 1845"/>
                <a:gd name="T106" fmla="*/ 25 w 724"/>
                <a:gd name="T107" fmla="*/ 74 h 1845"/>
                <a:gd name="T108" fmla="*/ 46 w 724"/>
                <a:gd name="T109" fmla="*/ 72 h 1845"/>
                <a:gd name="T110" fmla="*/ 47 w 724"/>
                <a:gd name="T111" fmla="*/ 68 h 1845"/>
                <a:gd name="T112" fmla="*/ 48 w 724"/>
                <a:gd name="T113" fmla="*/ 65 h 1845"/>
                <a:gd name="T114" fmla="*/ 50 w 724"/>
                <a:gd name="T115" fmla="*/ 62 h 1845"/>
                <a:gd name="T116" fmla="*/ 46 w 724"/>
                <a:gd name="T117" fmla="*/ 59 h 1845"/>
                <a:gd name="T118" fmla="*/ 50 w 724"/>
                <a:gd name="T119" fmla="*/ 57 h 1845"/>
                <a:gd name="T120" fmla="*/ 49 w 724"/>
                <a:gd name="T121" fmla="*/ 54 h 1845"/>
                <a:gd name="T122" fmla="*/ 54 w 724"/>
                <a:gd name="T123" fmla="*/ 50 h 1845"/>
                <a:gd name="T124" fmla="*/ 50 w 724"/>
                <a:gd name="T125" fmla="*/ 45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24"/>
                <a:gd name="T190" fmla="*/ 0 h 1845"/>
                <a:gd name="T191" fmla="*/ 724 w 724"/>
                <a:gd name="T192" fmla="*/ 1845 h 184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00" name="Freeform 14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06 w 2011"/>
                <a:gd name="T1" fmla="*/ 131 h 3449"/>
                <a:gd name="T2" fmla="*/ 0 w 2011"/>
                <a:gd name="T3" fmla="*/ 215 h 3449"/>
                <a:gd name="T4" fmla="*/ 105 w 2011"/>
                <a:gd name="T5" fmla="*/ 0 h 3449"/>
                <a:gd name="T6" fmla="*/ 106 w 2011"/>
                <a:gd name="T7" fmla="*/ 22 h 3449"/>
                <a:gd name="T8" fmla="*/ 106 w 2011"/>
                <a:gd name="T9" fmla="*/ 24 h 3449"/>
                <a:gd name="T10" fmla="*/ 101 w 2011"/>
                <a:gd name="T11" fmla="*/ 20 h 3449"/>
                <a:gd name="T12" fmla="*/ 100 w 2011"/>
                <a:gd name="T13" fmla="*/ 24 h 3449"/>
                <a:gd name="T14" fmla="*/ 98 w 2011"/>
                <a:gd name="T15" fmla="*/ 26 h 3449"/>
                <a:gd name="T16" fmla="*/ 96 w 2011"/>
                <a:gd name="T17" fmla="*/ 22 h 3449"/>
                <a:gd name="T18" fmla="*/ 94 w 2011"/>
                <a:gd name="T19" fmla="*/ 22 h 3449"/>
                <a:gd name="T20" fmla="*/ 91 w 2011"/>
                <a:gd name="T21" fmla="*/ 31 h 3449"/>
                <a:gd name="T22" fmla="*/ 87 w 2011"/>
                <a:gd name="T23" fmla="*/ 26 h 3449"/>
                <a:gd name="T24" fmla="*/ 85 w 2011"/>
                <a:gd name="T25" fmla="*/ 26 h 3449"/>
                <a:gd name="T26" fmla="*/ 86 w 2011"/>
                <a:gd name="T27" fmla="*/ 31 h 3449"/>
                <a:gd name="T28" fmla="*/ 79 w 2011"/>
                <a:gd name="T29" fmla="*/ 31 h 3449"/>
                <a:gd name="T30" fmla="*/ 79 w 2011"/>
                <a:gd name="T31" fmla="*/ 34 h 3449"/>
                <a:gd name="T32" fmla="*/ 75 w 2011"/>
                <a:gd name="T33" fmla="*/ 31 h 3449"/>
                <a:gd name="T34" fmla="*/ 79 w 2011"/>
                <a:gd name="T35" fmla="*/ 36 h 3449"/>
                <a:gd name="T36" fmla="*/ 77 w 2011"/>
                <a:gd name="T37" fmla="*/ 37 h 3449"/>
                <a:gd name="T38" fmla="*/ 76 w 2011"/>
                <a:gd name="T39" fmla="*/ 37 h 3449"/>
                <a:gd name="T40" fmla="*/ 74 w 2011"/>
                <a:gd name="T41" fmla="*/ 40 h 3449"/>
                <a:gd name="T42" fmla="*/ 76 w 2011"/>
                <a:gd name="T43" fmla="*/ 39 h 3449"/>
                <a:gd name="T44" fmla="*/ 76 w 2011"/>
                <a:gd name="T45" fmla="*/ 44 h 3449"/>
                <a:gd name="T46" fmla="*/ 73 w 2011"/>
                <a:gd name="T47" fmla="*/ 45 h 3449"/>
                <a:gd name="T48" fmla="*/ 75 w 2011"/>
                <a:gd name="T49" fmla="*/ 49 h 3449"/>
                <a:gd name="T50" fmla="*/ 70 w 2011"/>
                <a:gd name="T51" fmla="*/ 47 h 3449"/>
                <a:gd name="T52" fmla="*/ 65 w 2011"/>
                <a:gd name="T53" fmla="*/ 47 h 3449"/>
                <a:gd name="T54" fmla="*/ 64 w 2011"/>
                <a:gd name="T55" fmla="*/ 51 h 3449"/>
                <a:gd name="T56" fmla="*/ 71 w 2011"/>
                <a:gd name="T57" fmla="*/ 53 h 3449"/>
                <a:gd name="T58" fmla="*/ 69 w 2011"/>
                <a:gd name="T59" fmla="*/ 54 h 3449"/>
                <a:gd name="T60" fmla="*/ 69 w 2011"/>
                <a:gd name="T61" fmla="*/ 59 h 3449"/>
                <a:gd name="T62" fmla="*/ 72 w 2011"/>
                <a:gd name="T63" fmla="*/ 59 h 3449"/>
                <a:gd name="T64" fmla="*/ 69 w 2011"/>
                <a:gd name="T65" fmla="*/ 65 h 3449"/>
                <a:gd name="T66" fmla="*/ 70 w 2011"/>
                <a:gd name="T67" fmla="*/ 69 h 3449"/>
                <a:gd name="T68" fmla="*/ 68 w 2011"/>
                <a:gd name="T69" fmla="*/ 73 h 3449"/>
                <a:gd name="T70" fmla="*/ 65 w 2011"/>
                <a:gd name="T71" fmla="*/ 77 h 3449"/>
                <a:gd name="T72" fmla="*/ 68 w 2011"/>
                <a:gd name="T73" fmla="*/ 78 h 3449"/>
                <a:gd name="T74" fmla="*/ 69 w 2011"/>
                <a:gd name="T75" fmla="*/ 81 h 3449"/>
                <a:gd name="T76" fmla="*/ 72 w 2011"/>
                <a:gd name="T77" fmla="*/ 85 h 3449"/>
                <a:gd name="T78" fmla="*/ 76 w 2011"/>
                <a:gd name="T79" fmla="*/ 88 h 3449"/>
                <a:gd name="T80" fmla="*/ 79 w 2011"/>
                <a:gd name="T81" fmla="*/ 85 h 3449"/>
                <a:gd name="T82" fmla="*/ 79 w 2011"/>
                <a:gd name="T83" fmla="*/ 92 h 3449"/>
                <a:gd name="T84" fmla="*/ 85 w 2011"/>
                <a:gd name="T85" fmla="*/ 92 h 3449"/>
                <a:gd name="T86" fmla="*/ 84 w 2011"/>
                <a:gd name="T87" fmla="*/ 93 h 3449"/>
                <a:gd name="T88" fmla="*/ 86 w 2011"/>
                <a:gd name="T89" fmla="*/ 96 h 3449"/>
                <a:gd name="T90" fmla="*/ 87 w 2011"/>
                <a:gd name="T91" fmla="*/ 100 h 3449"/>
                <a:gd name="T92" fmla="*/ 89 w 2011"/>
                <a:gd name="T93" fmla="*/ 99 h 3449"/>
                <a:gd name="T94" fmla="*/ 92 w 2011"/>
                <a:gd name="T95" fmla="*/ 94 h 3449"/>
                <a:gd name="T96" fmla="*/ 95 w 2011"/>
                <a:gd name="T97" fmla="*/ 98 h 3449"/>
                <a:gd name="T98" fmla="*/ 96 w 2011"/>
                <a:gd name="T99" fmla="*/ 105 h 3449"/>
                <a:gd name="T100" fmla="*/ 99 w 2011"/>
                <a:gd name="T101" fmla="*/ 105 h 3449"/>
                <a:gd name="T102" fmla="*/ 96 w 2011"/>
                <a:gd name="T103" fmla="*/ 115 h 3449"/>
                <a:gd name="T104" fmla="*/ 76 w 2011"/>
                <a:gd name="T105" fmla="*/ 129 h 3449"/>
                <a:gd name="T106" fmla="*/ 87 w 2011"/>
                <a:gd name="T107" fmla="*/ 131 h 3449"/>
                <a:gd name="T108" fmla="*/ 106 w 2011"/>
                <a:gd name="T109" fmla="*/ 131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011"/>
                <a:gd name="T166" fmla="*/ 0 h 3449"/>
                <a:gd name="T167" fmla="*/ 2011 w 2011"/>
                <a:gd name="T168" fmla="*/ 3449 h 344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01" name="Freeform 15"/>
            <p:cNvSpPr>
              <a:spLocks noChangeAspect="1" noEditPoints="1"/>
            </p:cNvSpPr>
            <p:nvPr/>
          </p:nvSpPr>
          <p:spPr bwMode="auto">
            <a:xfrm>
              <a:off x="3235" y="2758"/>
              <a:ext cx="581" cy="570"/>
            </a:xfrm>
            <a:custGeom>
              <a:avLst/>
              <a:gdLst>
                <a:gd name="T0" fmla="*/ 17 w 639"/>
                <a:gd name="T1" fmla="*/ 43 h 621"/>
                <a:gd name="T2" fmla="*/ 17 w 639"/>
                <a:gd name="T3" fmla="*/ 43 h 621"/>
                <a:gd name="T4" fmla="*/ 34 w 639"/>
                <a:gd name="T5" fmla="*/ 22 h 621"/>
                <a:gd name="T6" fmla="*/ 17 w 639"/>
                <a:gd name="T7" fmla="*/ 0 h 621"/>
                <a:gd name="T8" fmla="*/ 0 w 639"/>
                <a:gd name="T9" fmla="*/ 22 h 621"/>
                <a:gd name="T10" fmla="*/ 17 w 639"/>
                <a:gd name="T11" fmla="*/ 43 h 621"/>
                <a:gd name="T12" fmla="*/ 17 w 639"/>
                <a:gd name="T13" fmla="*/ 43 h 621"/>
                <a:gd name="T14" fmla="*/ 9 w 639"/>
                <a:gd name="T15" fmla="*/ 22 h 621"/>
                <a:gd name="T16" fmla="*/ 9 w 639"/>
                <a:gd name="T17" fmla="*/ 22 h 621"/>
                <a:gd name="T18" fmla="*/ 17 w 639"/>
                <a:gd name="T19" fmla="*/ 9 h 621"/>
                <a:gd name="T20" fmla="*/ 25 w 639"/>
                <a:gd name="T21" fmla="*/ 22 h 621"/>
                <a:gd name="T22" fmla="*/ 17 w 639"/>
                <a:gd name="T23" fmla="*/ 35 h 621"/>
                <a:gd name="T24" fmla="*/ 9 w 639"/>
                <a:gd name="T25" fmla="*/ 22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39"/>
                <a:gd name="T40" fmla="*/ 0 h 621"/>
                <a:gd name="T41" fmla="*/ 639 w 639"/>
                <a:gd name="T42" fmla="*/ 621 h 62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02" name="Freeform 16"/>
            <p:cNvSpPr>
              <a:spLocks noChangeAspect="1"/>
            </p:cNvSpPr>
            <p:nvPr/>
          </p:nvSpPr>
          <p:spPr bwMode="auto">
            <a:xfrm>
              <a:off x="3892" y="2758"/>
              <a:ext cx="409" cy="570"/>
            </a:xfrm>
            <a:custGeom>
              <a:avLst/>
              <a:gdLst>
                <a:gd name="T0" fmla="*/ 36 w 441"/>
                <a:gd name="T1" fmla="*/ 10 h 621"/>
                <a:gd name="T2" fmla="*/ 36 w 441"/>
                <a:gd name="T3" fmla="*/ 10 h 621"/>
                <a:gd name="T4" fmla="*/ 27 w 441"/>
                <a:gd name="T5" fmla="*/ 8 h 621"/>
                <a:gd name="T6" fmla="*/ 16 w 441"/>
                <a:gd name="T7" fmla="*/ 12 h 621"/>
                <a:gd name="T8" fmla="*/ 29 w 441"/>
                <a:gd name="T9" fmla="*/ 18 h 621"/>
                <a:gd name="T10" fmla="*/ 43 w 441"/>
                <a:gd name="T11" fmla="*/ 30 h 621"/>
                <a:gd name="T12" fmla="*/ 18 w 441"/>
                <a:gd name="T13" fmla="*/ 43 h 621"/>
                <a:gd name="T14" fmla="*/ 6 w 441"/>
                <a:gd name="T15" fmla="*/ 42 h 621"/>
                <a:gd name="T16" fmla="*/ 6 w 441"/>
                <a:gd name="T17" fmla="*/ 33 h 621"/>
                <a:gd name="T18" fmla="*/ 19 w 441"/>
                <a:gd name="T19" fmla="*/ 36 h 621"/>
                <a:gd name="T20" fmla="*/ 27 w 441"/>
                <a:gd name="T21" fmla="*/ 31 h 621"/>
                <a:gd name="T22" fmla="*/ 15 w 441"/>
                <a:gd name="T23" fmla="*/ 25 h 621"/>
                <a:gd name="T24" fmla="*/ 0 w 441"/>
                <a:gd name="T25" fmla="*/ 12 h 621"/>
                <a:gd name="T26" fmla="*/ 24 w 441"/>
                <a:gd name="T27" fmla="*/ 0 h 621"/>
                <a:gd name="T28" fmla="*/ 36 w 441"/>
                <a:gd name="T29" fmla="*/ 6 h 621"/>
                <a:gd name="T30" fmla="*/ 36 w 441"/>
                <a:gd name="T31" fmla="*/ 10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1"/>
                <a:gd name="T49" fmla="*/ 0 h 621"/>
                <a:gd name="T50" fmla="*/ 441 w 441"/>
                <a:gd name="T51" fmla="*/ 621 h 6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03" name="Freeform 17"/>
            <p:cNvSpPr>
              <a:spLocks noChangeAspect="1"/>
            </p:cNvSpPr>
            <p:nvPr/>
          </p:nvSpPr>
          <p:spPr bwMode="auto">
            <a:xfrm>
              <a:off x="1772" y="2564"/>
              <a:ext cx="215" cy="743"/>
            </a:xfrm>
            <a:custGeom>
              <a:avLst/>
              <a:gdLst>
                <a:gd name="T0" fmla="*/ 8 w 229"/>
                <a:gd name="T1" fmla="*/ 43 h 817"/>
                <a:gd name="T2" fmla="*/ 8 w 229"/>
                <a:gd name="T3" fmla="*/ 43 h 817"/>
                <a:gd name="T4" fmla="*/ 8 w 229"/>
                <a:gd name="T5" fmla="*/ 32 h 817"/>
                <a:gd name="T6" fmla="*/ 8 w 229"/>
                <a:gd name="T7" fmla="*/ 15 h 817"/>
                <a:gd name="T8" fmla="*/ 0 w 229"/>
                <a:gd name="T9" fmla="*/ 0 h 817"/>
                <a:gd name="T10" fmla="*/ 31 w 229"/>
                <a:gd name="T11" fmla="*/ 0 h 817"/>
                <a:gd name="T12" fmla="*/ 29 w 229"/>
                <a:gd name="T13" fmla="*/ 13 h 817"/>
                <a:gd name="T14" fmla="*/ 29 w 229"/>
                <a:gd name="T15" fmla="*/ 28 h 817"/>
                <a:gd name="T16" fmla="*/ 33 w 229"/>
                <a:gd name="T17" fmla="*/ 43 h 817"/>
                <a:gd name="T18" fmla="*/ 8 w 229"/>
                <a:gd name="T19" fmla="*/ 43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29"/>
                <a:gd name="T31" fmla="*/ 0 h 817"/>
                <a:gd name="T32" fmla="*/ 229 w 229"/>
                <a:gd name="T33" fmla="*/ 817 h 8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04" name="Freeform 18"/>
            <p:cNvSpPr>
              <a:spLocks noChangeAspect="1" noEditPoints="1"/>
            </p:cNvSpPr>
            <p:nvPr/>
          </p:nvSpPr>
          <p:spPr bwMode="auto">
            <a:xfrm>
              <a:off x="2095" y="2758"/>
              <a:ext cx="602" cy="785"/>
            </a:xfrm>
            <a:custGeom>
              <a:avLst/>
              <a:gdLst>
                <a:gd name="T0" fmla="*/ 11 w 662"/>
                <a:gd name="T1" fmla="*/ 45 h 863"/>
                <a:gd name="T2" fmla="*/ 11 w 662"/>
                <a:gd name="T3" fmla="*/ 45 h 863"/>
                <a:gd name="T4" fmla="*/ 11 w 662"/>
                <a:gd name="T5" fmla="*/ 34 h 863"/>
                <a:gd name="T6" fmla="*/ 11 w 662"/>
                <a:gd name="T7" fmla="*/ 31 h 863"/>
                <a:gd name="T8" fmla="*/ 21 w 662"/>
                <a:gd name="T9" fmla="*/ 34 h 863"/>
                <a:gd name="T10" fmla="*/ 35 w 662"/>
                <a:gd name="T11" fmla="*/ 17 h 863"/>
                <a:gd name="T12" fmla="*/ 20 w 662"/>
                <a:gd name="T13" fmla="*/ 0 h 863"/>
                <a:gd name="T14" fmla="*/ 9 w 662"/>
                <a:gd name="T15" fmla="*/ 5 h 863"/>
                <a:gd name="T16" fmla="*/ 8 w 662"/>
                <a:gd name="T17" fmla="*/ 5 h 863"/>
                <a:gd name="T18" fmla="*/ 0 w 662"/>
                <a:gd name="T19" fmla="*/ 5 h 863"/>
                <a:gd name="T20" fmla="*/ 5 w 662"/>
                <a:gd name="T21" fmla="*/ 17 h 863"/>
                <a:gd name="T22" fmla="*/ 5 w 662"/>
                <a:gd name="T23" fmla="*/ 31 h 863"/>
                <a:gd name="T24" fmla="*/ 5 w 662"/>
                <a:gd name="T25" fmla="*/ 45 h 863"/>
                <a:gd name="T26" fmla="*/ 11 w 662"/>
                <a:gd name="T27" fmla="*/ 45 h 863"/>
                <a:gd name="T28" fmla="*/ 11 w 662"/>
                <a:gd name="T29" fmla="*/ 45 h 863"/>
                <a:gd name="T30" fmla="*/ 10 w 662"/>
                <a:gd name="T31" fmla="*/ 17 h 863"/>
                <a:gd name="T32" fmla="*/ 10 w 662"/>
                <a:gd name="T33" fmla="*/ 17 h 863"/>
                <a:gd name="T34" fmla="*/ 17 w 662"/>
                <a:gd name="T35" fmla="*/ 6 h 863"/>
                <a:gd name="T36" fmla="*/ 26 w 662"/>
                <a:gd name="T37" fmla="*/ 17 h 863"/>
                <a:gd name="T38" fmla="*/ 18 w 662"/>
                <a:gd name="T39" fmla="*/ 25 h 863"/>
                <a:gd name="T40" fmla="*/ 10 w 662"/>
                <a:gd name="T41" fmla="*/ 17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62"/>
                <a:gd name="T64" fmla="*/ 0 h 863"/>
                <a:gd name="T65" fmla="*/ 662 w 662"/>
                <a:gd name="T66" fmla="*/ 863 h 86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05" name="Freeform 19"/>
            <p:cNvSpPr>
              <a:spLocks noChangeAspect="1"/>
            </p:cNvSpPr>
            <p:nvPr/>
          </p:nvSpPr>
          <p:spPr bwMode="auto">
            <a:xfrm>
              <a:off x="2773" y="2758"/>
              <a:ext cx="398" cy="570"/>
            </a:xfrm>
            <a:custGeom>
              <a:avLst/>
              <a:gdLst>
                <a:gd name="T0" fmla="*/ 16 w 440"/>
                <a:gd name="T1" fmla="*/ 9 h 621"/>
                <a:gd name="T2" fmla="*/ 16 w 440"/>
                <a:gd name="T3" fmla="*/ 9 h 621"/>
                <a:gd name="T4" fmla="*/ 12 w 440"/>
                <a:gd name="T5" fmla="*/ 8 h 621"/>
                <a:gd name="T6" fmla="*/ 7 w 440"/>
                <a:gd name="T7" fmla="*/ 12 h 621"/>
                <a:gd name="T8" fmla="*/ 13 w 440"/>
                <a:gd name="T9" fmla="*/ 18 h 621"/>
                <a:gd name="T10" fmla="*/ 20 w 440"/>
                <a:gd name="T11" fmla="*/ 30 h 621"/>
                <a:gd name="T12" fmla="*/ 8 w 440"/>
                <a:gd name="T13" fmla="*/ 43 h 621"/>
                <a:gd name="T14" fmla="*/ 5 w 440"/>
                <a:gd name="T15" fmla="*/ 42 h 621"/>
                <a:gd name="T16" fmla="*/ 5 w 440"/>
                <a:gd name="T17" fmla="*/ 33 h 621"/>
                <a:gd name="T18" fmla="*/ 9 w 440"/>
                <a:gd name="T19" fmla="*/ 36 h 621"/>
                <a:gd name="T20" fmla="*/ 12 w 440"/>
                <a:gd name="T21" fmla="*/ 31 h 621"/>
                <a:gd name="T22" fmla="*/ 6 w 440"/>
                <a:gd name="T23" fmla="*/ 25 h 621"/>
                <a:gd name="T24" fmla="*/ 0 w 440"/>
                <a:gd name="T25" fmla="*/ 12 h 621"/>
                <a:gd name="T26" fmla="*/ 11 w 440"/>
                <a:gd name="T27" fmla="*/ 0 h 621"/>
                <a:gd name="T28" fmla="*/ 18 w 440"/>
                <a:gd name="T29" fmla="*/ 6 h 621"/>
                <a:gd name="T30" fmla="*/ 16 w 440"/>
                <a:gd name="T31" fmla="*/ 9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0"/>
                <a:gd name="T49" fmla="*/ 0 h 621"/>
                <a:gd name="T50" fmla="*/ 440 w 440"/>
                <a:gd name="T51" fmla="*/ 621 h 6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grpSp>
        <p:nvGrpSpPr>
          <p:cNvPr id="106" name="Group 29"/>
          <p:cNvGrpSpPr/>
          <p:nvPr userDrawn="1"/>
        </p:nvGrpSpPr>
        <p:grpSpPr>
          <a:xfrm>
            <a:off x="564458" y="720"/>
            <a:ext cx="6016084" cy="6857280"/>
            <a:chOff x="622299" y="794"/>
            <a:chExt cx="6632576" cy="7562056"/>
          </a:xfrm>
        </p:grpSpPr>
        <p:sp>
          <p:nvSpPr>
            <p:cNvPr id="107" name="Freeform 49"/>
            <p:cNvSpPr>
              <a:spLocks/>
            </p:cNvSpPr>
            <p:nvPr userDrawn="1"/>
          </p:nvSpPr>
          <p:spPr bwMode="ltGray">
            <a:xfrm flipH="1">
              <a:off x="622299" y="794"/>
              <a:ext cx="5346701" cy="7562056"/>
            </a:xfrm>
            <a:custGeom>
              <a:avLst/>
              <a:gdLst/>
              <a:ahLst/>
              <a:cxnLst/>
              <a:rect l="l" t="t" r="r" b="b"/>
              <a:pathLst>
                <a:path w="5346701" h="7562056">
                  <a:moveTo>
                    <a:pt x="5346701" y="0"/>
                  </a:moveTo>
                  <a:lnTo>
                    <a:pt x="0" y="0"/>
                  </a:lnTo>
                  <a:lnTo>
                    <a:pt x="0" y="7562056"/>
                  </a:lnTo>
                  <a:lnTo>
                    <a:pt x="474459" y="75620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108" name="Freeform 51"/>
            <p:cNvSpPr>
              <a:spLocks/>
            </p:cNvSpPr>
            <p:nvPr userDrawn="1"/>
          </p:nvSpPr>
          <p:spPr bwMode="ltGray">
            <a:xfrm flipH="1">
              <a:off x="622300" y="794"/>
              <a:ext cx="6632575" cy="4038600"/>
            </a:xfrm>
            <a:custGeom>
              <a:avLst/>
              <a:gdLst>
                <a:gd name="T0" fmla="*/ 0 w 4178"/>
                <a:gd name="T1" fmla="*/ 0 h 2544"/>
                <a:gd name="T2" fmla="*/ 2544 w 4178"/>
                <a:gd name="T3" fmla="*/ 2544 h 2544"/>
                <a:gd name="T4" fmla="*/ 4178 w 4178"/>
                <a:gd name="T5" fmla="*/ 0 h 2544"/>
                <a:gd name="T6" fmla="*/ 0 w 4178"/>
                <a:gd name="T7" fmla="*/ 0 h 2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78" h="2544">
                  <a:moveTo>
                    <a:pt x="0" y="0"/>
                  </a:moveTo>
                  <a:lnTo>
                    <a:pt x="2544" y="2544"/>
                  </a:lnTo>
                  <a:lnTo>
                    <a:pt x="41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109" name="Freeform 53"/>
            <p:cNvSpPr>
              <a:spLocks/>
            </p:cNvSpPr>
            <p:nvPr/>
          </p:nvSpPr>
          <p:spPr bwMode="ltGray">
            <a:xfrm flipH="1">
              <a:off x="1730375" y="1470819"/>
              <a:ext cx="2584450" cy="3092450"/>
            </a:xfrm>
            <a:custGeom>
              <a:avLst/>
              <a:gdLst>
                <a:gd name="T0" fmla="*/ 490 w 1628"/>
                <a:gd name="T1" fmla="*/ 1948 h 1948"/>
                <a:gd name="T2" fmla="*/ 402 w 1628"/>
                <a:gd name="T3" fmla="*/ 1886 h 1948"/>
                <a:gd name="T4" fmla="*/ 322 w 1628"/>
                <a:gd name="T5" fmla="*/ 1816 h 1948"/>
                <a:gd name="T6" fmla="*/ 250 w 1628"/>
                <a:gd name="T7" fmla="*/ 1740 h 1948"/>
                <a:gd name="T8" fmla="*/ 188 w 1628"/>
                <a:gd name="T9" fmla="*/ 1658 h 1948"/>
                <a:gd name="T10" fmla="*/ 134 w 1628"/>
                <a:gd name="T11" fmla="*/ 1570 h 1948"/>
                <a:gd name="T12" fmla="*/ 88 w 1628"/>
                <a:gd name="T13" fmla="*/ 1480 h 1948"/>
                <a:gd name="T14" fmla="*/ 52 w 1628"/>
                <a:gd name="T15" fmla="*/ 1384 h 1948"/>
                <a:gd name="T16" fmla="*/ 26 w 1628"/>
                <a:gd name="T17" fmla="*/ 1286 h 1948"/>
                <a:gd name="T18" fmla="*/ 8 w 1628"/>
                <a:gd name="T19" fmla="*/ 1186 h 1948"/>
                <a:gd name="T20" fmla="*/ 0 w 1628"/>
                <a:gd name="T21" fmla="*/ 1086 h 1948"/>
                <a:gd name="T22" fmla="*/ 2 w 1628"/>
                <a:gd name="T23" fmla="*/ 984 h 1948"/>
                <a:gd name="T24" fmla="*/ 14 w 1628"/>
                <a:gd name="T25" fmla="*/ 882 h 1948"/>
                <a:gd name="T26" fmla="*/ 36 w 1628"/>
                <a:gd name="T27" fmla="*/ 780 h 1948"/>
                <a:gd name="T28" fmla="*/ 70 w 1628"/>
                <a:gd name="T29" fmla="*/ 682 h 1948"/>
                <a:gd name="T30" fmla="*/ 112 w 1628"/>
                <a:gd name="T31" fmla="*/ 584 h 1948"/>
                <a:gd name="T32" fmla="*/ 166 w 1628"/>
                <a:gd name="T33" fmla="*/ 490 h 1948"/>
                <a:gd name="T34" fmla="*/ 196 w 1628"/>
                <a:gd name="T35" fmla="*/ 444 h 1948"/>
                <a:gd name="T36" fmla="*/ 262 w 1628"/>
                <a:gd name="T37" fmla="*/ 360 h 1948"/>
                <a:gd name="T38" fmla="*/ 334 w 1628"/>
                <a:gd name="T39" fmla="*/ 284 h 1948"/>
                <a:gd name="T40" fmla="*/ 414 w 1628"/>
                <a:gd name="T41" fmla="*/ 218 h 1948"/>
                <a:gd name="T42" fmla="*/ 498 w 1628"/>
                <a:gd name="T43" fmla="*/ 160 h 1948"/>
                <a:gd name="T44" fmla="*/ 588 w 1628"/>
                <a:gd name="T45" fmla="*/ 110 h 1948"/>
                <a:gd name="T46" fmla="*/ 682 w 1628"/>
                <a:gd name="T47" fmla="*/ 68 h 1948"/>
                <a:gd name="T48" fmla="*/ 778 w 1628"/>
                <a:gd name="T49" fmla="*/ 38 h 1948"/>
                <a:gd name="T50" fmla="*/ 876 w 1628"/>
                <a:gd name="T51" fmla="*/ 16 h 1948"/>
                <a:gd name="T52" fmla="*/ 978 w 1628"/>
                <a:gd name="T53" fmla="*/ 2 h 1948"/>
                <a:gd name="T54" fmla="*/ 1080 w 1628"/>
                <a:gd name="T55" fmla="*/ 0 h 1948"/>
                <a:gd name="T56" fmla="*/ 1182 w 1628"/>
                <a:gd name="T57" fmla="*/ 8 h 1948"/>
                <a:gd name="T58" fmla="*/ 1282 w 1628"/>
                <a:gd name="T59" fmla="*/ 24 h 1948"/>
                <a:gd name="T60" fmla="*/ 1382 w 1628"/>
                <a:gd name="T61" fmla="*/ 52 h 1948"/>
                <a:gd name="T62" fmla="*/ 1482 w 1628"/>
                <a:gd name="T63" fmla="*/ 88 h 1948"/>
                <a:gd name="T64" fmla="*/ 1576 w 1628"/>
                <a:gd name="T65" fmla="*/ 136 h 1948"/>
                <a:gd name="T66" fmla="*/ 1624 w 1628"/>
                <a:gd name="T67" fmla="*/ 164 h 1948"/>
                <a:gd name="T68" fmla="*/ 490 w 1628"/>
                <a:gd name="T69" fmla="*/ 1948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28" h="1948">
                  <a:moveTo>
                    <a:pt x="490" y="1948"/>
                  </a:moveTo>
                  <a:lnTo>
                    <a:pt x="490" y="1948"/>
                  </a:lnTo>
                  <a:lnTo>
                    <a:pt x="444" y="1918"/>
                  </a:lnTo>
                  <a:lnTo>
                    <a:pt x="402" y="1886"/>
                  </a:lnTo>
                  <a:lnTo>
                    <a:pt x="360" y="1852"/>
                  </a:lnTo>
                  <a:lnTo>
                    <a:pt x="322" y="1816"/>
                  </a:lnTo>
                  <a:lnTo>
                    <a:pt x="286" y="1778"/>
                  </a:lnTo>
                  <a:lnTo>
                    <a:pt x="250" y="1740"/>
                  </a:lnTo>
                  <a:lnTo>
                    <a:pt x="218" y="1700"/>
                  </a:lnTo>
                  <a:lnTo>
                    <a:pt x="188" y="1658"/>
                  </a:lnTo>
                  <a:lnTo>
                    <a:pt x="160" y="1614"/>
                  </a:lnTo>
                  <a:lnTo>
                    <a:pt x="134" y="1570"/>
                  </a:lnTo>
                  <a:lnTo>
                    <a:pt x="110" y="1526"/>
                  </a:lnTo>
                  <a:lnTo>
                    <a:pt x="88" y="1480"/>
                  </a:lnTo>
                  <a:lnTo>
                    <a:pt x="70" y="1432"/>
                  </a:lnTo>
                  <a:lnTo>
                    <a:pt x="52" y="1384"/>
                  </a:lnTo>
                  <a:lnTo>
                    <a:pt x="38" y="1336"/>
                  </a:lnTo>
                  <a:lnTo>
                    <a:pt x="26" y="1286"/>
                  </a:lnTo>
                  <a:lnTo>
                    <a:pt x="16" y="1236"/>
                  </a:lnTo>
                  <a:lnTo>
                    <a:pt x="8" y="1186"/>
                  </a:lnTo>
                  <a:lnTo>
                    <a:pt x="4" y="1136"/>
                  </a:lnTo>
                  <a:lnTo>
                    <a:pt x="0" y="1086"/>
                  </a:lnTo>
                  <a:lnTo>
                    <a:pt x="0" y="1034"/>
                  </a:lnTo>
                  <a:lnTo>
                    <a:pt x="2" y="984"/>
                  </a:lnTo>
                  <a:lnTo>
                    <a:pt x="8" y="932"/>
                  </a:lnTo>
                  <a:lnTo>
                    <a:pt x="14" y="882"/>
                  </a:lnTo>
                  <a:lnTo>
                    <a:pt x="24" y="830"/>
                  </a:lnTo>
                  <a:lnTo>
                    <a:pt x="36" y="780"/>
                  </a:lnTo>
                  <a:lnTo>
                    <a:pt x="52" y="730"/>
                  </a:lnTo>
                  <a:lnTo>
                    <a:pt x="70" y="682"/>
                  </a:lnTo>
                  <a:lnTo>
                    <a:pt x="90" y="632"/>
                  </a:lnTo>
                  <a:lnTo>
                    <a:pt x="112" y="584"/>
                  </a:lnTo>
                  <a:lnTo>
                    <a:pt x="138" y="536"/>
                  </a:lnTo>
                  <a:lnTo>
                    <a:pt x="166" y="490"/>
                  </a:lnTo>
                  <a:lnTo>
                    <a:pt x="166" y="490"/>
                  </a:lnTo>
                  <a:lnTo>
                    <a:pt x="196" y="444"/>
                  </a:lnTo>
                  <a:lnTo>
                    <a:pt x="228" y="402"/>
                  </a:lnTo>
                  <a:lnTo>
                    <a:pt x="262" y="360"/>
                  </a:lnTo>
                  <a:lnTo>
                    <a:pt x="298" y="322"/>
                  </a:lnTo>
                  <a:lnTo>
                    <a:pt x="334" y="284"/>
                  </a:lnTo>
                  <a:lnTo>
                    <a:pt x="374" y="250"/>
                  </a:lnTo>
                  <a:lnTo>
                    <a:pt x="414" y="218"/>
                  </a:lnTo>
                  <a:lnTo>
                    <a:pt x="456" y="188"/>
                  </a:lnTo>
                  <a:lnTo>
                    <a:pt x="498" y="160"/>
                  </a:lnTo>
                  <a:lnTo>
                    <a:pt x="542" y="134"/>
                  </a:lnTo>
                  <a:lnTo>
                    <a:pt x="588" y="110"/>
                  </a:lnTo>
                  <a:lnTo>
                    <a:pt x="634" y="88"/>
                  </a:lnTo>
                  <a:lnTo>
                    <a:pt x="682" y="68"/>
                  </a:lnTo>
                  <a:lnTo>
                    <a:pt x="730" y="52"/>
                  </a:lnTo>
                  <a:lnTo>
                    <a:pt x="778" y="38"/>
                  </a:lnTo>
                  <a:lnTo>
                    <a:pt x="828" y="26"/>
                  </a:lnTo>
                  <a:lnTo>
                    <a:pt x="876" y="16"/>
                  </a:lnTo>
                  <a:lnTo>
                    <a:pt x="926" y="8"/>
                  </a:lnTo>
                  <a:lnTo>
                    <a:pt x="978" y="2"/>
                  </a:lnTo>
                  <a:lnTo>
                    <a:pt x="1028" y="0"/>
                  </a:lnTo>
                  <a:lnTo>
                    <a:pt x="1080" y="0"/>
                  </a:lnTo>
                  <a:lnTo>
                    <a:pt x="1130" y="2"/>
                  </a:lnTo>
                  <a:lnTo>
                    <a:pt x="1182" y="8"/>
                  </a:lnTo>
                  <a:lnTo>
                    <a:pt x="1232" y="14"/>
                  </a:lnTo>
                  <a:lnTo>
                    <a:pt x="1282" y="24"/>
                  </a:lnTo>
                  <a:lnTo>
                    <a:pt x="1332" y="36"/>
                  </a:lnTo>
                  <a:lnTo>
                    <a:pt x="1382" y="52"/>
                  </a:lnTo>
                  <a:lnTo>
                    <a:pt x="1432" y="68"/>
                  </a:lnTo>
                  <a:lnTo>
                    <a:pt x="1482" y="88"/>
                  </a:lnTo>
                  <a:lnTo>
                    <a:pt x="1530" y="112"/>
                  </a:lnTo>
                  <a:lnTo>
                    <a:pt x="1576" y="136"/>
                  </a:lnTo>
                  <a:lnTo>
                    <a:pt x="1624" y="164"/>
                  </a:lnTo>
                  <a:lnTo>
                    <a:pt x="1624" y="164"/>
                  </a:lnTo>
                  <a:lnTo>
                    <a:pt x="1628" y="168"/>
                  </a:lnTo>
                  <a:lnTo>
                    <a:pt x="490" y="1948"/>
                  </a:lnTo>
                  <a:close/>
                </a:path>
              </a:pathLst>
            </a:custGeom>
            <a:solidFill>
              <a:srgbClr val="D93F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110" name="Freeform 55"/>
            <p:cNvSpPr>
              <a:spLocks/>
            </p:cNvSpPr>
            <p:nvPr userDrawn="1"/>
          </p:nvSpPr>
          <p:spPr bwMode="ltGray">
            <a:xfrm flipH="1">
              <a:off x="4149725" y="858044"/>
              <a:ext cx="863600" cy="863600"/>
            </a:xfrm>
            <a:custGeom>
              <a:avLst/>
              <a:gdLst>
                <a:gd name="T0" fmla="*/ 0 w 544"/>
                <a:gd name="T1" fmla="*/ 272 h 544"/>
                <a:gd name="T2" fmla="*/ 4 w 544"/>
                <a:gd name="T3" fmla="*/ 218 h 544"/>
                <a:gd name="T4" fmla="*/ 20 w 544"/>
                <a:gd name="T5" fmla="*/ 166 h 544"/>
                <a:gd name="T6" fmla="*/ 46 w 544"/>
                <a:gd name="T7" fmla="*/ 120 h 544"/>
                <a:gd name="T8" fmla="*/ 80 w 544"/>
                <a:gd name="T9" fmla="*/ 80 h 544"/>
                <a:gd name="T10" fmla="*/ 120 w 544"/>
                <a:gd name="T11" fmla="*/ 46 h 544"/>
                <a:gd name="T12" fmla="*/ 166 w 544"/>
                <a:gd name="T13" fmla="*/ 20 h 544"/>
                <a:gd name="T14" fmla="*/ 216 w 544"/>
                <a:gd name="T15" fmla="*/ 4 h 544"/>
                <a:gd name="T16" fmla="*/ 272 w 544"/>
                <a:gd name="T17" fmla="*/ 0 h 544"/>
                <a:gd name="T18" fmla="*/ 300 w 544"/>
                <a:gd name="T19" fmla="*/ 0 h 544"/>
                <a:gd name="T20" fmla="*/ 352 w 544"/>
                <a:gd name="T21" fmla="*/ 12 h 544"/>
                <a:gd name="T22" fmla="*/ 402 w 544"/>
                <a:gd name="T23" fmla="*/ 32 h 544"/>
                <a:gd name="T24" fmla="*/ 446 w 544"/>
                <a:gd name="T25" fmla="*/ 62 h 544"/>
                <a:gd name="T26" fmla="*/ 482 w 544"/>
                <a:gd name="T27" fmla="*/ 98 h 544"/>
                <a:gd name="T28" fmla="*/ 512 w 544"/>
                <a:gd name="T29" fmla="*/ 142 h 544"/>
                <a:gd name="T30" fmla="*/ 532 w 544"/>
                <a:gd name="T31" fmla="*/ 190 h 544"/>
                <a:gd name="T32" fmla="*/ 544 w 544"/>
                <a:gd name="T33" fmla="*/ 244 h 544"/>
                <a:gd name="T34" fmla="*/ 544 w 544"/>
                <a:gd name="T35" fmla="*/ 272 h 544"/>
                <a:gd name="T36" fmla="*/ 538 w 544"/>
                <a:gd name="T37" fmla="*/ 326 h 544"/>
                <a:gd name="T38" fmla="*/ 524 w 544"/>
                <a:gd name="T39" fmla="*/ 378 h 544"/>
                <a:gd name="T40" fmla="*/ 498 w 544"/>
                <a:gd name="T41" fmla="*/ 424 h 544"/>
                <a:gd name="T42" fmla="*/ 464 w 544"/>
                <a:gd name="T43" fmla="*/ 464 h 544"/>
                <a:gd name="T44" fmla="*/ 424 w 544"/>
                <a:gd name="T45" fmla="*/ 498 h 544"/>
                <a:gd name="T46" fmla="*/ 378 w 544"/>
                <a:gd name="T47" fmla="*/ 524 h 544"/>
                <a:gd name="T48" fmla="*/ 326 w 544"/>
                <a:gd name="T49" fmla="*/ 540 h 544"/>
                <a:gd name="T50" fmla="*/ 272 w 544"/>
                <a:gd name="T51" fmla="*/ 544 h 544"/>
                <a:gd name="T52" fmla="*/ 244 w 544"/>
                <a:gd name="T53" fmla="*/ 544 h 544"/>
                <a:gd name="T54" fmla="*/ 190 w 544"/>
                <a:gd name="T55" fmla="*/ 532 h 544"/>
                <a:gd name="T56" fmla="*/ 142 w 544"/>
                <a:gd name="T57" fmla="*/ 512 h 544"/>
                <a:gd name="T58" fmla="*/ 98 w 544"/>
                <a:gd name="T59" fmla="*/ 482 h 544"/>
                <a:gd name="T60" fmla="*/ 62 w 544"/>
                <a:gd name="T61" fmla="*/ 446 h 544"/>
                <a:gd name="T62" fmla="*/ 32 w 544"/>
                <a:gd name="T63" fmla="*/ 402 h 544"/>
                <a:gd name="T64" fmla="*/ 12 w 544"/>
                <a:gd name="T65" fmla="*/ 354 h 544"/>
                <a:gd name="T66" fmla="*/ 0 w 544"/>
                <a:gd name="T67" fmla="*/ 300 h 544"/>
                <a:gd name="T68" fmla="*/ 0 w 544"/>
                <a:gd name="T69" fmla="*/ 272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4" h="544">
                  <a:moveTo>
                    <a:pt x="0" y="272"/>
                  </a:moveTo>
                  <a:lnTo>
                    <a:pt x="0" y="272"/>
                  </a:lnTo>
                  <a:lnTo>
                    <a:pt x="0" y="244"/>
                  </a:lnTo>
                  <a:lnTo>
                    <a:pt x="4" y="218"/>
                  </a:lnTo>
                  <a:lnTo>
                    <a:pt x="12" y="190"/>
                  </a:lnTo>
                  <a:lnTo>
                    <a:pt x="20" y="166"/>
                  </a:lnTo>
                  <a:lnTo>
                    <a:pt x="32" y="142"/>
                  </a:lnTo>
                  <a:lnTo>
                    <a:pt x="46" y="120"/>
                  </a:lnTo>
                  <a:lnTo>
                    <a:pt x="62" y="98"/>
                  </a:lnTo>
                  <a:lnTo>
                    <a:pt x="80" y="80"/>
                  </a:lnTo>
                  <a:lnTo>
                    <a:pt x="98" y="62"/>
                  </a:lnTo>
                  <a:lnTo>
                    <a:pt x="120" y="46"/>
                  </a:lnTo>
                  <a:lnTo>
                    <a:pt x="142" y="32"/>
                  </a:lnTo>
                  <a:lnTo>
                    <a:pt x="166" y="20"/>
                  </a:lnTo>
                  <a:lnTo>
                    <a:pt x="190" y="12"/>
                  </a:lnTo>
                  <a:lnTo>
                    <a:pt x="216" y="4"/>
                  </a:lnTo>
                  <a:lnTo>
                    <a:pt x="244" y="0"/>
                  </a:lnTo>
                  <a:lnTo>
                    <a:pt x="272" y="0"/>
                  </a:lnTo>
                  <a:lnTo>
                    <a:pt x="272" y="0"/>
                  </a:lnTo>
                  <a:lnTo>
                    <a:pt x="300" y="0"/>
                  </a:lnTo>
                  <a:lnTo>
                    <a:pt x="326" y="4"/>
                  </a:lnTo>
                  <a:lnTo>
                    <a:pt x="352" y="12"/>
                  </a:lnTo>
                  <a:lnTo>
                    <a:pt x="378" y="20"/>
                  </a:lnTo>
                  <a:lnTo>
                    <a:pt x="402" y="32"/>
                  </a:lnTo>
                  <a:lnTo>
                    <a:pt x="424" y="46"/>
                  </a:lnTo>
                  <a:lnTo>
                    <a:pt x="446" y="62"/>
                  </a:lnTo>
                  <a:lnTo>
                    <a:pt x="464" y="80"/>
                  </a:lnTo>
                  <a:lnTo>
                    <a:pt x="482" y="98"/>
                  </a:lnTo>
                  <a:lnTo>
                    <a:pt x="498" y="120"/>
                  </a:lnTo>
                  <a:lnTo>
                    <a:pt x="512" y="142"/>
                  </a:lnTo>
                  <a:lnTo>
                    <a:pt x="524" y="166"/>
                  </a:lnTo>
                  <a:lnTo>
                    <a:pt x="532" y="190"/>
                  </a:lnTo>
                  <a:lnTo>
                    <a:pt x="538" y="218"/>
                  </a:lnTo>
                  <a:lnTo>
                    <a:pt x="544" y="244"/>
                  </a:lnTo>
                  <a:lnTo>
                    <a:pt x="544" y="272"/>
                  </a:lnTo>
                  <a:lnTo>
                    <a:pt x="544" y="272"/>
                  </a:lnTo>
                  <a:lnTo>
                    <a:pt x="544" y="300"/>
                  </a:lnTo>
                  <a:lnTo>
                    <a:pt x="538" y="326"/>
                  </a:lnTo>
                  <a:lnTo>
                    <a:pt x="532" y="354"/>
                  </a:lnTo>
                  <a:lnTo>
                    <a:pt x="524" y="378"/>
                  </a:lnTo>
                  <a:lnTo>
                    <a:pt x="512" y="402"/>
                  </a:lnTo>
                  <a:lnTo>
                    <a:pt x="498" y="424"/>
                  </a:lnTo>
                  <a:lnTo>
                    <a:pt x="482" y="446"/>
                  </a:lnTo>
                  <a:lnTo>
                    <a:pt x="464" y="464"/>
                  </a:lnTo>
                  <a:lnTo>
                    <a:pt x="446" y="482"/>
                  </a:lnTo>
                  <a:lnTo>
                    <a:pt x="424" y="498"/>
                  </a:lnTo>
                  <a:lnTo>
                    <a:pt x="402" y="512"/>
                  </a:lnTo>
                  <a:lnTo>
                    <a:pt x="378" y="524"/>
                  </a:lnTo>
                  <a:lnTo>
                    <a:pt x="352" y="532"/>
                  </a:lnTo>
                  <a:lnTo>
                    <a:pt x="326" y="540"/>
                  </a:lnTo>
                  <a:lnTo>
                    <a:pt x="300" y="544"/>
                  </a:lnTo>
                  <a:lnTo>
                    <a:pt x="272" y="544"/>
                  </a:lnTo>
                  <a:lnTo>
                    <a:pt x="272" y="544"/>
                  </a:lnTo>
                  <a:lnTo>
                    <a:pt x="244" y="544"/>
                  </a:lnTo>
                  <a:lnTo>
                    <a:pt x="216" y="540"/>
                  </a:lnTo>
                  <a:lnTo>
                    <a:pt x="190" y="532"/>
                  </a:lnTo>
                  <a:lnTo>
                    <a:pt x="166" y="524"/>
                  </a:lnTo>
                  <a:lnTo>
                    <a:pt x="142" y="512"/>
                  </a:lnTo>
                  <a:lnTo>
                    <a:pt x="120" y="498"/>
                  </a:lnTo>
                  <a:lnTo>
                    <a:pt x="98" y="482"/>
                  </a:lnTo>
                  <a:lnTo>
                    <a:pt x="80" y="464"/>
                  </a:lnTo>
                  <a:lnTo>
                    <a:pt x="62" y="446"/>
                  </a:lnTo>
                  <a:lnTo>
                    <a:pt x="46" y="424"/>
                  </a:lnTo>
                  <a:lnTo>
                    <a:pt x="32" y="402"/>
                  </a:lnTo>
                  <a:lnTo>
                    <a:pt x="20" y="378"/>
                  </a:lnTo>
                  <a:lnTo>
                    <a:pt x="12" y="354"/>
                  </a:lnTo>
                  <a:lnTo>
                    <a:pt x="4" y="326"/>
                  </a:lnTo>
                  <a:lnTo>
                    <a:pt x="0" y="300"/>
                  </a:lnTo>
                  <a:lnTo>
                    <a:pt x="0" y="272"/>
                  </a:lnTo>
                  <a:lnTo>
                    <a:pt x="0" y="272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111" name="Freeform 61"/>
            <p:cNvSpPr>
              <a:spLocks/>
            </p:cNvSpPr>
            <p:nvPr userDrawn="1"/>
          </p:nvSpPr>
          <p:spPr bwMode="ltGray">
            <a:xfrm flipH="1">
              <a:off x="5730875" y="972344"/>
              <a:ext cx="654050" cy="647700"/>
            </a:xfrm>
            <a:custGeom>
              <a:avLst/>
              <a:gdLst>
                <a:gd name="T0" fmla="*/ 412 w 412"/>
                <a:gd name="T1" fmla="*/ 336 h 408"/>
                <a:gd name="T2" fmla="*/ 412 w 412"/>
                <a:gd name="T3" fmla="*/ 336 h 408"/>
                <a:gd name="T4" fmla="*/ 394 w 412"/>
                <a:gd name="T5" fmla="*/ 352 h 408"/>
                <a:gd name="T6" fmla="*/ 374 w 412"/>
                <a:gd name="T7" fmla="*/ 368 h 408"/>
                <a:gd name="T8" fmla="*/ 354 w 412"/>
                <a:gd name="T9" fmla="*/ 380 h 408"/>
                <a:gd name="T10" fmla="*/ 334 w 412"/>
                <a:gd name="T11" fmla="*/ 390 h 408"/>
                <a:gd name="T12" fmla="*/ 312 w 412"/>
                <a:gd name="T13" fmla="*/ 398 h 408"/>
                <a:gd name="T14" fmla="*/ 288 w 412"/>
                <a:gd name="T15" fmla="*/ 404 h 408"/>
                <a:gd name="T16" fmla="*/ 266 w 412"/>
                <a:gd name="T17" fmla="*/ 406 h 408"/>
                <a:gd name="T18" fmla="*/ 244 w 412"/>
                <a:gd name="T19" fmla="*/ 408 h 408"/>
                <a:gd name="T20" fmla="*/ 220 w 412"/>
                <a:gd name="T21" fmla="*/ 408 h 408"/>
                <a:gd name="T22" fmla="*/ 198 w 412"/>
                <a:gd name="T23" fmla="*/ 404 h 408"/>
                <a:gd name="T24" fmla="*/ 174 w 412"/>
                <a:gd name="T25" fmla="*/ 400 h 408"/>
                <a:gd name="T26" fmla="*/ 152 w 412"/>
                <a:gd name="T27" fmla="*/ 392 h 408"/>
                <a:gd name="T28" fmla="*/ 132 w 412"/>
                <a:gd name="T29" fmla="*/ 382 h 408"/>
                <a:gd name="T30" fmla="*/ 110 w 412"/>
                <a:gd name="T31" fmla="*/ 370 h 408"/>
                <a:gd name="T32" fmla="*/ 92 w 412"/>
                <a:gd name="T33" fmla="*/ 356 h 408"/>
                <a:gd name="T34" fmla="*/ 72 w 412"/>
                <a:gd name="T35" fmla="*/ 340 h 408"/>
                <a:gd name="T36" fmla="*/ 72 w 412"/>
                <a:gd name="T37" fmla="*/ 340 h 408"/>
                <a:gd name="T38" fmla="*/ 56 w 412"/>
                <a:gd name="T39" fmla="*/ 322 h 408"/>
                <a:gd name="T40" fmla="*/ 42 w 412"/>
                <a:gd name="T41" fmla="*/ 302 h 408"/>
                <a:gd name="T42" fmla="*/ 30 w 412"/>
                <a:gd name="T43" fmla="*/ 282 h 408"/>
                <a:gd name="T44" fmla="*/ 20 w 412"/>
                <a:gd name="T45" fmla="*/ 262 h 408"/>
                <a:gd name="T46" fmla="*/ 12 w 412"/>
                <a:gd name="T47" fmla="*/ 240 h 408"/>
                <a:gd name="T48" fmla="*/ 6 w 412"/>
                <a:gd name="T49" fmla="*/ 218 h 408"/>
                <a:gd name="T50" fmla="*/ 2 w 412"/>
                <a:gd name="T51" fmla="*/ 194 h 408"/>
                <a:gd name="T52" fmla="*/ 0 w 412"/>
                <a:gd name="T53" fmla="*/ 172 h 408"/>
                <a:gd name="T54" fmla="*/ 2 w 412"/>
                <a:gd name="T55" fmla="*/ 148 h 408"/>
                <a:gd name="T56" fmla="*/ 4 w 412"/>
                <a:gd name="T57" fmla="*/ 126 h 408"/>
                <a:gd name="T58" fmla="*/ 10 w 412"/>
                <a:gd name="T59" fmla="*/ 104 h 408"/>
                <a:gd name="T60" fmla="*/ 18 w 412"/>
                <a:gd name="T61" fmla="*/ 80 h 408"/>
                <a:gd name="T62" fmla="*/ 26 w 412"/>
                <a:gd name="T63" fmla="*/ 60 h 408"/>
                <a:gd name="T64" fmla="*/ 38 w 412"/>
                <a:gd name="T65" fmla="*/ 40 h 408"/>
                <a:gd name="T66" fmla="*/ 52 w 412"/>
                <a:gd name="T67" fmla="*/ 20 h 408"/>
                <a:gd name="T68" fmla="*/ 68 w 412"/>
                <a:gd name="T69" fmla="*/ 2 h 408"/>
                <a:gd name="T70" fmla="*/ 70 w 412"/>
                <a:gd name="T71" fmla="*/ 0 h 408"/>
                <a:gd name="T72" fmla="*/ 412 w 412"/>
                <a:gd name="T73" fmla="*/ 33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12" h="408">
                  <a:moveTo>
                    <a:pt x="412" y="336"/>
                  </a:moveTo>
                  <a:lnTo>
                    <a:pt x="412" y="336"/>
                  </a:lnTo>
                  <a:lnTo>
                    <a:pt x="394" y="352"/>
                  </a:lnTo>
                  <a:lnTo>
                    <a:pt x="374" y="368"/>
                  </a:lnTo>
                  <a:lnTo>
                    <a:pt x="354" y="380"/>
                  </a:lnTo>
                  <a:lnTo>
                    <a:pt x="334" y="390"/>
                  </a:lnTo>
                  <a:lnTo>
                    <a:pt x="312" y="398"/>
                  </a:lnTo>
                  <a:lnTo>
                    <a:pt x="288" y="404"/>
                  </a:lnTo>
                  <a:lnTo>
                    <a:pt x="266" y="406"/>
                  </a:lnTo>
                  <a:lnTo>
                    <a:pt x="244" y="408"/>
                  </a:lnTo>
                  <a:lnTo>
                    <a:pt x="220" y="408"/>
                  </a:lnTo>
                  <a:lnTo>
                    <a:pt x="198" y="404"/>
                  </a:lnTo>
                  <a:lnTo>
                    <a:pt x="174" y="400"/>
                  </a:lnTo>
                  <a:lnTo>
                    <a:pt x="152" y="392"/>
                  </a:lnTo>
                  <a:lnTo>
                    <a:pt x="132" y="382"/>
                  </a:lnTo>
                  <a:lnTo>
                    <a:pt x="110" y="370"/>
                  </a:lnTo>
                  <a:lnTo>
                    <a:pt x="92" y="356"/>
                  </a:lnTo>
                  <a:lnTo>
                    <a:pt x="72" y="340"/>
                  </a:lnTo>
                  <a:lnTo>
                    <a:pt x="72" y="340"/>
                  </a:lnTo>
                  <a:lnTo>
                    <a:pt x="56" y="322"/>
                  </a:lnTo>
                  <a:lnTo>
                    <a:pt x="42" y="302"/>
                  </a:lnTo>
                  <a:lnTo>
                    <a:pt x="30" y="282"/>
                  </a:lnTo>
                  <a:lnTo>
                    <a:pt x="20" y="262"/>
                  </a:lnTo>
                  <a:lnTo>
                    <a:pt x="12" y="240"/>
                  </a:lnTo>
                  <a:lnTo>
                    <a:pt x="6" y="218"/>
                  </a:lnTo>
                  <a:lnTo>
                    <a:pt x="2" y="194"/>
                  </a:lnTo>
                  <a:lnTo>
                    <a:pt x="0" y="172"/>
                  </a:lnTo>
                  <a:lnTo>
                    <a:pt x="2" y="148"/>
                  </a:lnTo>
                  <a:lnTo>
                    <a:pt x="4" y="126"/>
                  </a:lnTo>
                  <a:lnTo>
                    <a:pt x="10" y="104"/>
                  </a:lnTo>
                  <a:lnTo>
                    <a:pt x="18" y="80"/>
                  </a:lnTo>
                  <a:lnTo>
                    <a:pt x="26" y="60"/>
                  </a:lnTo>
                  <a:lnTo>
                    <a:pt x="38" y="40"/>
                  </a:lnTo>
                  <a:lnTo>
                    <a:pt x="52" y="20"/>
                  </a:lnTo>
                  <a:lnTo>
                    <a:pt x="68" y="2"/>
                  </a:lnTo>
                  <a:lnTo>
                    <a:pt x="70" y="0"/>
                  </a:lnTo>
                  <a:lnTo>
                    <a:pt x="412" y="336"/>
                  </a:lnTo>
                  <a:close/>
                </a:path>
              </a:pathLst>
            </a:custGeom>
            <a:solidFill>
              <a:srgbClr val="D93F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112" name="Freeform 62"/>
            <p:cNvSpPr>
              <a:spLocks/>
            </p:cNvSpPr>
            <p:nvPr userDrawn="1"/>
          </p:nvSpPr>
          <p:spPr bwMode="ltGray">
            <a:xfrm flipH="1">
              <a:off x="3006725" y="4140994"/>
              <a:ext cx="944562" cy="1122604"/>
            </a:xfrm>
            <a:custGeom>
              <a:avLst/>
              <a:gdLst>
                <a:gd name="T0" fmla="*/ 718 w 1008"/>
                <a:gd name="T1" fmla="*/ 0 h 1206"/>
                <a:gd name="T2" fmla="*/ 772 w 1008"/>
                <a:gd name="T3" fmla="*/ 38 h 1206"/>
                <a:gd name="T4" fmla="*/ 820 w 1008"/>
                <a:gd name="T5" fmla="*/ 82 h 1206"/>
                <a:gd name="T6" fmla="*/ 864 w 1008"/>
                <a:gd name="T7" fmla="*/ 128 h 1206"/>
                <a:gd name="T8" fmla="*/ 902 w 1008"/>
                <a:gd name="T9" fmla="*/ 180 h 1206"/>
                <a:gd name="T10" fmla="*/ 934 w 1008"/>
                <a:gd name="T11" fmla="*/ 234 h 1206"/>
                <a:gd name="T12" fmla="*/ 960 w 1008"/>
                <a:gd name="T13" fmla="*/ 290 h 1206"/>
                <a:gd name="T14" fmla="*/ 982 w 1008"/>
                <a:gd name="T15" fmla="*/ 350 h 1206"/>
                <a:gd name="T16" fmla="*/ 996 w 1008"/>
                <a:gd name="T17" fmla="*/ 410 h 1206"/>
                <a:gd name="T18" fmla="*/ 1006 w 1008"/>
                <a:gd name="T19" fmla="*/ 472 h 1206"/>
                <a:gd name="T20" fmla="*/ 1008 w 1008"/>
                <a:gd name="T21" fmla="*/ 534 h 1206"/>
                <a:gd name="T22" fmla="*/ 1006 w 1008"/>
                <a:gd name="T23" fmla="*/ 598 h 1206"/>
                <a:gd name="T24" fmla="*/ 998 w 1008"/>
                <a:gd name="T25" fmla="*/ 662 h 1206"/>
                <a:gd name="T26" fmla="*/ 984 w 1008"/>
                <a:gd name="T27" fmla="*/ 724 h 1206"/>
                <a:gd name="T28" fmla="*/ 962 w 1008"/>
                <a:gd name="T29" fmla="*/ 786 h 1206"/>
                <a:gd name="T30" fmla="*/ 936 w 1008"/>
                <a:gd name="T31" fmla="*/ 846 h 1206"/>
                <a:gd name="T32" fmla="*/ 902 w 1008"/>
                <a:gd name="T33" fmla="*/ 904 h 1206"/>
                <a:gd name="T34" fmla="*/ 884 w 1008"/>
                <a:gd name="T35" fmla="*/ 932 h 1206"/>
                <a:gd name="T36" fmla="*/ 842 w 1008"/>
                <a:gd name="T37" fmla="*/ 984 h 1206"/>
                <a:gd name="T38" fmla="*/ 798 w 1008"/>
                <a:gd name="T39" fmla="*/ 1030 h 1206"/>
                <a:gd name="T40" fmla="*/ 748 w 1008"/>
                <a:gd name="T41" fmla="*/ 1072 h 1206"/>
                <a:gd name="T42" fmla="*/ 696 w 1008"/>
                <a:gd name="T43" fmla="*/ 1108 h 1206"/>
                <a:gd name="T44" fmla="*/ 640 w 1008"/>
                <a:gd name="T45" fmla="*/ 1138 h 1206"/>
                <a:gd name="T46" fmla="*/ 582 w 1008"/>
                <a:gd name="T47" fmla="*/ 1164 h 1206"/>
                <a:gd name="T48" fmla="*/ 524 w 1008"/>
                <a:gd name="T49" fmla="*/ 1182 h 1206"/>
                <a:gd name="T50" fmla="*/ 462 w 1008"/>
                <a:gd name="T51" fmla="*/ 1196 h 1206"/>
                <a:gd name="T52" fmla="*/ 400 w 1008"/>
                <a:gd name="T53" fmla="*/ 1204 h 1206"/>
                <a:gd name="T54" fmla="*/ 336 w 1008"/>
                <a:gd name="T55" fmla="*/ 1206 h 1206"/>
                <a:gd name="T56" fmla="*/ 274 w 1008"/>
                <a:gd name="T57" fmla="*/ 1200 h 1206"/>
                <a:gd name="T58" fmla="*/ 210 w 1008"/>
                <a:gd name="T59" fmla="*/ 1190 h 1206"/>
                <a:gd name="T60" fmla="*/ 148 w 1008"/>
                <a:gd name="T61" fmla="*/ 1174 h 1206"/>
                <a:gd name="T62" fmla="*/ 88 w 1008"/>
                <a:gd name="T63" fmla="*/ 1150 h 1206"/>
                <a:gd name="T64" fmla="*/ 28 w 1008"/>
                <a:gd name="T65" fmla="*/ 1120 h 1206"/>
                <a:gd name="T66" fmla="*/ 718 w 1008"/>
                <a:gd name="T67" fmla="*/ 0 h 1206"/>
                <a:gd name="connsiteX0" fmla="*/ 7240 w 10000"/>
                <a:gd name="connsiteY0" fmla="*/ 65 h 10000"/>
                <a:gd name="connsiteX1" fmla="*/ 7123 w 10000"/>
                <a:gd name="connsiteY1" fmla="*/ 0 h 10000"/>
                <a:gd name="connsiteX2" fmla="*/ 7401 w 10000"/>
                <a:gd name="connsiteY2" fmla="*/ 149 h 10000"/>
                <a:gd name="connsiteX3" fmla="*/ 7659 w 10000"/>
                <a:gd name="connsiteY3" fmla="*/ 315 h 10000"/>
                <a:gd name="connsiteX4" fmla="*/ 7897 w 10000"/>
                <a:gd name="connsiteY4" fmla="*/ 498 h 10000"/>
                <a:gd name="connsiteX5" fmla="*/ 8135 w 10000"/>
                <a:gd name="connsiteY5" fmla="*/ 680 h 10000"/>
                <a:gd name="connsiteX6" fmla="*/ 8353 w 10000"/>
                <a:gd name="connsiteY6" fmla="*/ 862 h 10000"/>
                <a:gd name="connsiteX7" fmla="*/ 8571 w 10000"/>
                <a:gd name="connsiteY7" fmla="*/ 1061 h 10000"/>
                <a:gd name="connsiteX8" fmla="*/ 8770 w 10000"/>
                <a:gd name="connsiteY8" fmla="*/ 1277 h 10000"/>
                <a:gd name="connsiteX9" fmla="*/ 8948 w 10000"/>
                <a:gd name="connsiteY9" fmla="*/ 1493 h 10000"/>
                <a:gd name="connsiteX10" fmla="*/ 9107 w 10000"/>
                <a:gd name="connsiteY10" fmla="*/ 1708 h 10000"/>
                <a:gd name="connsiteX11" fmla="*/ 9266 w 10000"/>
                <a:gd name="connsiteY11" fmla="*/ 1940 h 10000"/>
                <a:gd name="connsiteX12" fmla="*/ 9405 w 10000"/>
                <a:gd name="connsiteY12" fmla="*/ 2172 h 10000"/>
                <a:gd name="connsiteX13" fmla="*/ 9524 w 10000"/>
                <a:gd name="connsiteY13" fmla="*/ 2405 h 10000"/>
                <a:gd name="connsiteX14" fmla="*/ 9643 w 10000"/>
                <a:gd name="connsiteY14" fmla="*/ 2653 h 10000"/>
                <a:gd name="connsiteX15" fmla="*/ 9742 w 10000"/>
                <a:gd name="connsiteY15" fmla="*/ 2902 h 10000"/>
                <a:gd name="connsiteX16" fmla="*/ 9821 w 10000"/>
                <a:gd name="connsiteY16" fmla="*/ 3151 h 10000"/>
                <a:gd name="connsiteX17" fmla="*/ 9881 w 10000"/>
                <a:gd name="connsiteY17" fmla="*/ 3400 h 10000"/>
                <a:gd name="connsiteX18" fmla="*/ 9940 w 10000"/>
                <a:gd name="connsiteY18" fmla="*/ 3648 h 10000"/>
                <a:gd name="connsiteX19" fmla="*/ 9980 w 10000"/>
                <a:gd name="connsiteY19" fmla="*/ 3914 h 10000"/>
                <a:gd name="connsiteX20" fmla="*/ 10000 w 10000"/>
                <a:gd name="connsiteY20" fmla="*/ 4179 h 10000"/>
                <a:gd name="connsiteX21" fmla="*/ 10000 w 10000"/>
                <a:gd name="connsiteY21" fmla="*/ 4428 h 10000"/>
                <a:gd name="connsiteX22" fmla="*/ 10000 w 10000"/>
                <a:gd name="connsiteY22" fmla="*/ 4693 h 10000"/>
                <a:gd name="connsiteX23" fmla="*/ 9980 w 10000"/>
                <a:gd name="connsiteY23" fmla="*/ 4959 h 10000"/>
                <a:gd name="connsiteX24" fmla="*/ 9940 w 10000"/>
                <a:gd name="connsiteY24" fmla="*/ 5224 h 10000"/>
                <a:gd name="connsiteX25" fmla="*/ 9901 w 10000"/>
                <a:gd name="connsiteY25" fmla="*/ 5489 h 10000"/>
                <a:gd name="connsiteX26" fmla="*/ 9841 w 10000"/>
                <a:gd name="connsiteY26" fmla="*/ 5738 h 10000"/>
                <a:gd name="connsiteX27" fmla="*/ 9762 w 10000"/>
                <a:gd name="connsiteY27" fmla="*/ 6003 h 10000"/>
                <a:gd name="connsiteX28" fmla="*/ 9663 w 10000"/>
                <a:gd name="connsiteY28" fmla="*/ 6252 h 10000"/>
                <a:gd name="connsiteX29" fmla="*/ 9544 w 10000"/>
                <a:gd name="connsiteY29" fmla="*/ 6517 h 10000"/>
                <a:gd name="connsiteX30" fmla="*/ 9425 w 10000"/>
                <a:gd name="connsiteY30" fmla="*/ 6766 h 10000"/>
                <a:gd name="connsiteX31" fmla="*/ 9286 w 10000"/>
                <a:gd name="connsiteY31" fmla="*/ 7015 h 10000"/>
                <a:gd name="connsiteX32" fmla="*/ 9127 w 10000"/>
                <a:gd name="connsiteY32" fmla="*/ 7247 h 10000"/>
                <a:gd name="connsiteX33" fmla="*/ 8948 w 10000"/>
                <a:gd name="connsiteY33" fmla="*/ 7496 h 10000"/>
                <a:gd name="connsiteX34" fmla="*/ 8948 w 10000"/>
                <a:gd name="connsiteY34" fmla="*/ 7496 h 10000"/>
                <a:gd name="connsiteX35" fmla="*/ 8770 w 10000"/>
                <a:gd name="connsiteY35" fmla="*/ 7728 h 10000"/>
                <a:gd name="connsiteX36" fmla="*/ 8571 w 10000"/>
                <a:gd name="connsiteY36" fmla="*/ 7944 h 10000"/>
                <a:gd name="connsiteX37" fmla="*/ 8353 w 10000"/>
                <a:gd name="connsiteY37" fmla="*/ 8159 h 10000"/>
                <a:gd name="connsiteX38" fmla="*/ 8135 w 10000"/>
                <a:gd name="connsiteY38" fmla="*/ 8358 h 10000"/>
                <a:gd name="connsiteX39" fmla="*/ 7917 w 10000"/>
                <a:gd name="connsiteY39" fmla="*/ 8541 h 10000"/>
                <a:gd name="connsiteX40" fmla="*/ 7679 w 10000"/>
                <a:gd name="connsiteY40" fmla="*/ 8723 h 10000"/>
                <a:gd name="connsiteX41" fmla="*/ 7421 w 10000"/>
                <a:gd name="connsiteY41" fmla="*/ 8889 h 10000"/>
                <a:gd name="connsiteX42" fmla="*/ 7163 w 10000"/>
                <a:gd name="connsiteY42" fmla="*/ 9038 h 10000"/>
                <a:gd name="connsiteX43" fmla="*/ 6905 w 10000"/>
                <a:gd name="connsiteY43" fmla="*/ 9187 h 10000"/>
                <a:gd name="connsiteX44" fmla="*/ 6627 w 10000"/>
                <a:gd name="connsiteY44" fmla="*/ 9320 h 10000"/>
                <a:gd name="connsiteX45" fmla="*/ 6349 w 10000"/>
                <a:gd name="connsiteY45" fmla="*/ 9436 h 10000"/>
                <a:gd name="connsiteX46" fmla="*/ 6071 w 10000"/>
                <a:gd name="connsiteY46" fmla="*/ 9552 h 10000"/>
                <a:gd name="connsiteX47" fmla="*/ 5774 w 10000"/>
                <a:gd name="connsiteY47" fmla="*/ 9652 h 10000"/>
                <a:gd name="connsiteX48" fmla="*/ 5496 w 10000"/>
                <a:gd name="connsiteY48" fmla="*/ 9735 h 10000"/>
                <a:gd name="connsiteX49" fmla="*/ 5198 w 10000"/>
                <a:gd name="connsiteY49" fmla="*/ 9801 h 10000"/>
                <a:gd name="connsiteX50" fmla="*/ 4881 w 10000"/>
                <a:gd name="connsiteY50" fmla="*/ 9867 h 10000"/>
                <a:gd name="connsiteX51" fmla="*/ 4583 w 10000"/>
                <a:gd name="connsiteY51" fmla="*/ 9917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7 h 10000"/>
                <a:gd name="connsiteX59" fmla="*/ 2083 w 10000"/>
                <a:gd name="connsiteY59" fmla="*/ 9867 h 10000"/>
                <a:gd name="connsiteX60" fmla="*/ 1786 w 10000"/>
                <a:gd name="connsiteY60" fmla="*/ 9801 h 10000"/>
                <a:gd name="connsiteX61" fmla="*/ 1468 w 10000"/>
                <a:gd name="connsiteY61" fmla="*/ 9735 h 10000"/>
                <a:gd name="connsiteX62" fmla="*/ 1171 w 10000"/>
                <a:gd name="connsiteY62" fmla="*/ 9635 h 10000"/>
                <a:gd name="connsiteX63" fmla="*/ 873 w 10000"/>
                <a:gd name="connsiteY63" fmla="*/ 9536 h 10000"/>
                <a:gd name="connsiteX64" fmla="*/ 575 w 10000"/>
                <a:gd name="connsiteY64" fmla="*/ 9420 h 10000"/>
                <a:gd name="connsiteX65" fmla="*/ 278 w 10000"/>
                <a:gd name="connsiteY65" fmla="*/ 9287 h 10000"/>
                <a:gd name="connsiteX66" fmla="*/ 0 w 10000"/>
                <a:gd name="connsiteY66" fmla="*/ 9138 h 10000"/>
                <a:gd name="connsiteX67" fmla="*/ 7240 w 10000"/>
                <a:gd name="connsiteY67" fmla="*/ 65 h 10000"/>
                <a:gd name="connsiteX0" fmla="*/ 6927 w 10000"/>
                <a:gd name="connsiteY0" fmla="*/ 98 h 10000"/>
                <a:gd name="connsiteX1" fmla="*/ 7123 w 10000"/>
                <a:gd name="connsiteY1" fmla="*/ 0 h 10000"/>
                <a:gd name="connsiteX2" fmla="*/ 7401 w 10000"/>
                <a:gd name="connsiteY2" fmla="*/ 149 h 10000"/>
                <a:gd name="connsiteX3" fmla="*/ 7659 w 10000"/>
                <a:gd name="connsiteY3" fmla="*/ 315 h 10000"/>
                <a:gd name="connsiteX4" fmla="*/ 7897 w 10000"/>
                <a:gd name="connsiteY4" fmla="*/ 498 h 10000"/>
                <a:gd name="connsiteX5" fmla="*/ 8135 w 10000"/>
                <a:gd name="connsiteY5" fmla="*/ 680 h 10000"/>
                <a:gd name="connsiteX6" fmla="*/ 8353 w 10000"/>
                <a:gd name="connsiteY6" fmla="*/ 862 h 10000"/>
                <a:gd name="connsiteX7" fmla="*/ 8571 w 10000"/>
                <a:gd name="connsiteY7" fmla="*/ 1061 h 10000"/>
                <a:gd name="connsiteX8" fmla="*/ 8770 w 10000"/>
                <a:gd name="connsiteY8" fmla="*/ 1277 h 10000"/>
                <a:gd name="connsiteX9" fmla="*/ 8948 w 10000"/>
                <a:gd name="connsiteY9" fmla="*/ 1493 h 10000"/>
                <a:gd name="connsiteX10" fmla="*/ 9107 w 10000"/>
                <a:gd name="connsiteY10" fmla="*/ 1708 h 10000"/>
                <a:gd name="connsiteX11" fmla="*/ 9266 w 10000"/>
                <a:gd name="connsiteY11" fmla="*/ 1940 h 10000"/>
                <a:gd name="connsiteX12" fmla="*/ 9405 w 10000"/>
                <a:gd name="connsiteY12" fmla="*/ 2172 h 10000"/>
                <a:gd name="connsiteX13" fmla="*/ 9524 w 10000"/>
                <a:gd name="connsiteY13" fmla="*/ 2405 h 10000"/>
                <a:gd name="connsiteX14" fmla="*/ 9643 w 10000"/>
                <a:gd name="connsiteY14" fmla="*/ 2653 h 10000"/>
                <a:gd name="connsiteX15" fmla="*/ 9742 w 10000"/>
                <a:gd name="connsiteY15" fmla="*/ 2902 h 10000"/>
                <a:gd name="connsiteX16" fmla="*/ 9821 w 10000"/>
                <a:gd name="connsiteY16" fmla="*/ 3151 h 10000"/>
                <a:gd name="connsiteX17" fmla="*/ 9881 w 10000"/>
                <a:gd name="connsiteY17" fmla="*/ 3400 h 10000"/>
                <a:gd name="connsiteX18" fmla="*/ 9940 w 10000"/>
                <a:gd name="connsiteY18" fmla="*/ 3648 h 10000"/>
                <a:gd name="connsiteX19" fmla="*/ 9980 w 10000"/>
                <a:gd name="connsiteY19" fmla="*/ 3914 h 10000"/>
                <a:gd name="connsiteX20" fmla="*/ 10000 w 10000"/>
                <a:gd name="connsiteY20" fmla="*/ 4179 h 10000"/>
                <a:gd name="connsiteX21" fmla="*/ 10000 w 10000"/>
                <a:gd name="connsiteY21" fmla="*/ 4428 h 10000"/>
                <a:gd name="connsiteX22" fmla="*/ 10000 w 10000"/>
                <a:gd name="connsiteY22" fmla="*/ 4693 h 10000"/>
                <a:gd name="connsiteX23" fmla="*/ 9980 w 10000"/>
                <a:gd name="connsiteY23" fmla="*/ 4959 h 10000"/>
                <a:gd name="connsiteX24" fmla="*/ 9940 w 10000"/>
                <a:gd name="connsiteY24" fmla="*/ 5224 h 10000"/>
                <a:gd name="connsiteX25" fmla="*/ 9901 w 10000"/>
                <a:gd name="connsiteY25" fmla="*/ 5489 h 10000"/>
                <a:gd name="connsiteX26" fmla="*/ 9841 w 10000"/>
                <a:gd name="connsiteY26" fmla="*/ 5738 h 10000"/>
                <a:gd name="connsiteX27" fmla="*/ 9762 w 10000"/>
                <a:gd name="connsiteY27" fmla="*/ 6003 h 10000"/>
                <a:gd name="connsiteX28" fmla="*/ 9663 w 10000"/>
                <a:gd name="connsiteY28" fmla="*/ 6252 h 10000"/>
                <a:gd name="connsiteX29" fmla="*/ 9544 w 10000"/>
                <a:gd name="connsiteY29" fmla="*/ 6517 h 10000"/>
                <a:gd name="connsiteX30" fmla="*/ 9425 w 10000"/>
                <a:gd name="connsiteY30" fmla="*/ 6766 h 10000"/>
                <a:gd name="connsiteX31" fmla="*/ 9286 w 10000"/>
                <a:gd name="connsiteY31" fmla="*/ 7015 h 10000"/>
                <a:gd name="connsiteX32" fmla="*/ 9127 w 10000"/>
                <a:gd name="connsiteY32" fmla="*/ 7247 h 10000"/>
                <a:gd name="connsiteX33" fmla="*/ 8948 w 10000"/>
                <a:gd name="connsiteY33" fmla="*/ 7496 h 10000"/>
                <a:gd name="connsiteX34" fmla="*/ 8948 w 10000"/>
                <a:gd name="connsiteY34" fmla="*/ 7496 h 10000"/>
                <a:gd name="connsiteX35" fmla="*/ 8770 w 10000"/>
                <a:gd name="connsiteY35" fmla="*/ 7728 h 10000"/>
                <a:gd name="connsiteX36" fmla="*/ 8571 w 10000"/>
                <a:gd name="connsiteY36" fmla="*/ 7944 h 10000"/>
                <a:gd name="connsiteX37" fmla="*/ 8353 w 10000"/>
                <a:gd name="connsiteY37" fmla="*/ 8159 h 10000"/>
                <a:gd name="connsiteX38" fmla="*/ 8135 w 10000"/>
                <a:gd name="connsiteY38" fmla="*/ 8358 h 10000"/>
                <a:gd name="connsiteX39" fmla="*/ 7917 w 10000"/>
                <a:gd name="connsiteY39" fmla="*/ 8541 h 10000"/>
                <a:gd name="connsiteX40" fmla="*/ 7679 w 10000"/>
                <a:gd name="connsiteY40" fmla="*/ 8723 h 10000"/>
                <a:gd name="connsiteX41" fmla="*/ 7421 w 10000"/>
                <a:gd name="connsiteY41" fmla="*/ 8889 h 10000"/>
                <a:gd name="connsiteX42" fmla="*/ 7163 w 10000"/>
                <a:gd name="connsiteY42" fmla="*/ 9038 h 10000"/>
                <a:gd name="connsiteX43" fmla="*/ 6905 w 10000"/>
                <a:gd name="connsiteY43" fmla="*/ 9187 h 10000"/>
                <a:gd name="connsiteX44" fmla="*/ 6627 w 10000"/>
                <a:gd name="connsiteY44" fmla="*/ 9320 h 10000"/>
                <a:gd name="connsiteX45" fmla="*/ 6349 w 10000"/>
                <a:gd name="connsiteY45" fmla="*/ 9436 h 10000"/>
                <a:gd name="connsiteX46" fmla="*/ 6071 w 10000"/>
                <a:gd name="connsiteY46" fmla="*/ 9552 h 10000"/>
                <a:gd name="connsiteX47" fmla="*/ 5774 w 10000"/>
                <a:gd name="connsiteY47" fmla="*/ 9652 h 10000"/>
                <a:gd name="connsiteX48" fmla="*/ 5496 w 10000"/>
                <a:gd name="connsiteY48" fmla="*/ 9735 h 10000"/>
                <a:gd name="connsiteX49" fmla="*/ 5198 w 10000"/>
                <a:gd name="connsiteY49" fmla="*/ 9801 h 10000"/>
                <a:gd name="connsiteX50" fmla="*/ 4881 w 10000"/>
                <a:gd name="connsiteY50" fmla="*/ 9867 h 10000"/>
                <a:gd name="connsiteX51" fmla="*/ 4583 w 10000"/>
                <a:gd name="connsiteY51" fmla="*/ 9917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7 h 10000"/>
                <a:gd name="connsiteX59" fmla="*/ 2083 w 10000"/>
                <a:gd name="connsiteY59" fmla="*/ 9867 h 10000"/>
                <a:gd name="connsiteX60" fmla="*/ 1786 w 10000"/>
                <a:gd name="connsiteY60" fmla="*/ 9801 h 10000"/>
                <a:gd name="connsiteX61" fmla="*/ 1468 w 10000"/>
                <a:gd name="connsiteY61" fmla="*/ 9735 h 10000"/>
                <a:gd name="connsiteX62" fmla="*/ 1171 w 10000"/>
                <a:gd name="connsiteY62" fmla="*/ 9635 h 10000"/>
                <a:gd name="connsiteX63" fmla="*/ 873 w 10000"/>
                <a:gd name="connsiteY63" fmla="*/ 9536 h 10000"/>
                <a:gd name="connsiteX64" fmla="*/ 575 w 10000"/>
                <a:gd name="connsiteY64" fmla="*/ 9420 h 10000"/>
                <a:gd name="connsiteX65" fmla="*/ 278 w 10000"/>
                <a:gd name="connsiteY65" fmla="*/ 9287 h 10000"/>
                <a:gd name="connsiteX66" fmla="*/ 0 w 10000"/>
                <a:gd name="connsiteY66" fmla="*/ 9138 h 10000"/>
                <a:gd name="connsiteX67" fmla="*/ 6927 w 10000"/>
                <a:gd name="connsiteY67" fmla="*/ 98 h 10000"/>
                <a:gd name="connsiteX0" fmla="*/ 0 w 10000"/>
                <a:gd name="connsiteY0" fmla="*/ 9138 h 10000"/>
                <a:gd name="connsiteX1" fmla="*/ 7123 w 10000"/>
                <a:gd name="connsiteY1" fmla="*/ 0 h 10000"/>
                <a:gd name="connsiteX2" fmla="*/ 7401 w 10000"/>
                <a:gd name="connsiteY2" fmla="*/ 149 h 10000"/>
                <a:gd name="connsiteX3" fmla="*/ 7659 w 10000"/>
                <a:gd name="connsiteY3" fmla="*/ 315 h 10000"/>
                <a:gd name="connsiteX4" fmla="*/ 7897 w 10000"/>
                <a:gd name="connsiteY4" fmla="*/ 498 h 10000"/>
                <a:gd name="connsiteX5" fmla="*/ 8135 w 10000"/>
                <a:gd name="connsiteY5" fmla="*/ 680 h 10000"/>
                <a:gd name="connsiteX6" fmla="*/ 8353 w 10000"/>
                <a:gd name="connsiteY6" fmla="*/ 862 h 10000"/>
                <a:gd name="connsiteX7" fmla="*/ 8571 w 10000"/>
                <a:gd name="connsiteY7" fmla="*/ 1061 h 10000"/>
                <a:gd name="connsiteX8" fmla="*/ 8770 w 10000"/>
                <a:gd name="connsiteY8" fmla="*/ 1277 h 10000"/>
                <a:gd name="connsiteX9" fmla="*/ 8948 w 10000"/>
                <a:gd name="connsiteY9" fmla="*/ 1493 h 10000"/>
                <a:gd name="connsiteX10" fmla="*/ 9107 w 10000"/>
                <a:gd name="connsiteY10" fmla="*/ 1708 h 10000"/>
                <a:gd name="connsiteX11" fmla="*/ 9266 w 10000"/>
                <a:gd name="connsiteY11" fmla="*/ 1940 h 10000"/>
                <a:gd name="connsiteX12" fmla="*/ 9405 w 10000"/>
                <a:gd name="connsiteY12" fmla="*/ 2172 h 10000"/>
                <a:gd name="connsiteX13" fmla="*/ 9524 w 10000"/>
                <a:gd name="connsiteY13" fmla="*/ 2405 h 10000"/>
                <a:gd name="connsiteX14" fmla="*/ 9643 w 10000"/>
                <a:gd name="connsiteY14" fmla="*/ 2653 h 10000"/>
                <a:gd name="connsiteX15" fmla="*/ 9742 w 10000"/>
                <a:gd name="connsiteY15" fmla="*/ 2902 h 10000"/>
                <a:gd name="connsiteX16" fmla="*/ 9821 w 10000"/>
                <a:gd name="connsiteY16" fmla="*/ 3151 h 10000"/>
                <a:gd name="connsiteX17" fmla="*/ 9881 w 10000"/>
                <a:gd name="connsiteY17" fmla="*/ 3400 h 10000"/>
                <a:gd name="connsiteX18" fmla="*/ 9940 w 10000"/>
                <a:gd name="connsiteY18" fmla="*/ 3648 h 10000"/>
                <a:gd name="connsiteX19" fmla="*/ 9980 w 10000"/>
                <a:gd name="connsiteY19" fmla="*/ 3914 h 10000"/>
                <a:gd name="connsiteX20" fmla="*/ 10000 w 10000"/>
                <a:gd name="connsiteY20" fmla="*/ 4179 h 10000"/>
                <a:gd name="connsiteX21" fmla="*/ 10000 w 10000"/>
                <a:gd name="connsiteY21" fmla="*/ 4428 h 10000"/>
                <a:gd name="connsiteX22" fmla="*/ 10000 w 10000"/>
                <a:gd name="connsiteY22" fmla="*/ 4693 h 10000"/>
                <a:gd name="connsiteX23" fmla="*/ 9980 w 10000"/>
                <a:gd name="connsiteY23" fmla="*/ 4959 h 10000"/>
                <a:gd name="connsiteX24" fmla="*/ 9940 w 10000"/>
                <a:gd name="connsiteY24" fmla="*/ 5224 h 10000"/>
                <a:gd name="connsiteX25" fmla="*/ 9901 w 10000"/>
                <a:gd name="connsiteY25" fmla="*/ 5489 h 10000"/>
                <a:gd name="connsiteX26" fmla="*/ 9841 w 10000"/>
                <a:gd name="connsiteY26" fmla="*/ 5738 h 10000"/>
                <a:gd name="connsiteX27" fmla="*/ 9762 w 10000"/>
                <a:gd name="connsiteY27" fmla="*/ 6003 h 10000"/>
                <a:gd name="connsiteX28" fmla="*/ 9663 w 10000"/>
                <a:gd name="connsiteY28" fmla="*/ 6252 h 10000"/>
                <a:gd name="connsiteX29" fmla="*/ 9544 w 10000"/>
                <a:gd name="connsiteY29" fmla="*/ 6517 h 10000"/>
                <a:gd name="connsiteX30" fmla="*/ 9425 w 10000"/>
                <a:gd name="connsiteY30" fmla="*/ 6766 h 10000"/>
                <a:gd name="connsiteX31" fmla="*/ 9286 w 10000"/>
                <a:gd name="connsiteY31" fmla="*/ 7015 h 10000"/>
                <a:gd name="connsiteX32" fmla="*/ 9127 w 10000"/>
                <a:gd name="connsiteY32" fmla="*/ 7247 h 10000"/>
                <a:gd name="connsiteX33" fmla="*/ 8948 w 10000"/>
                <a:gd name="connsiteY33" fmla="*/ 7496 h 10000"/>
                <a:gd name="connsiteX34" fmla="*/ 8948 w 10000"/>
                <a:gd name="connsiteY34" fmla="*/ 7496 h 10000"/>
                <a:gd name="connsiteX35" fmla="*/ 8770 w 10000"/>
                <a:gd name="connsiteY35" fmla="*/ 7728 h 10000"/>
                <a:gd name="connsiteX36" fmla="*/ 8571 w 10000"/>
                <a:gd name="connsiteY36" fmla="*/ 7944 h 10000"/>
                <a:gd name="connsiteX37" fmla="*/ 8353 w 10000"/>
                <a:gd name="connsiteY37" fmla="*/ 8159 h 10000"/>
                <a:gd name="connsiteX38" fmla="*/ 8135 w 10000"/>
                <a:gd name="connsiteY38" fmla="*/ 8358 h 10000"/>
                <a:gd name="connsiteX39" fmla="*/ 7917 w 10000"/>
                <a:gd name="connsiteY39" fmla="*/ 8541 h 10000"/>
                <a:gd name="connsiteX40" fmla="*/ 7679 w 10000"/>
                <a:gd name="connsiteY40" fmla="*/ 8723 h 10000"/>
                <a:gd name="connsiteX41" fmla="*/ 7421 w 10000"/>
                <a:gd name="connsiteY41" fmla="*/ 8889 h 10000"/>
                <a:gd name="connsiteX42" fmla="*/ 7163 w 10000"/>
                <a:gd name="connsiteY42" fmla="*/ 9038 h 10000"/>
                <a:gd name="connsiteX43" fmla="*/ 6905 w 10000"/>
                <a:gd name="connsiteY43" fmla="*/ 9187 h 10000"/>
                <a:gd name="connsiteX44" fmla="*/ 6627 w 10000"/>
                <a:gd name="connsiteY44" fmla="*/ 9320 h 10000"/>
                <a:gd name="connsiteX45" fmla="*/ 6349 w 10000"/>
                <a:gd name="connsiteY45" fmla="*/ 9436 h 10000"/>
                <a:gd name="connsiteX46" fmla="*/ 6071 w 10000"/>
                <a:gd name="connsiteY46" fmla="*/ 9552 h 10000"/>
                <a:gd name="connsiteX47" fmla="*/ 5774 w 10000"/>
                <a:gd name="connsiteY47" fmla="*/ 9652 h 10000"/>
                <a:gd name="connsiteX48" fmla="*/ 5496 w 10000"/>
                <a:gd name="connsiteY48" fmla="*/ 9735 h 10000"/>
                <a:gd name="connsiteX49" fmla="*/ 5198 w 10000"/>
                <a:gd name="connsiteY49" fmla="*/ 9801 h 10000"/>
                <a:gd name="connsiteX50" fmla="*/ 4881 w 10000"/>
                <a:gd name="connsiteY50" fmla="*/ 9867 h 10000"/>
                <a:gd name="connsiteX51" fmla="*/ 4583 w 10000"/>
                <a:gd name="connsiteY51" fmla="*/ 9917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7 h 10000"/>
                <a:gd name="connsiteX59" fmla="*/ 2083 w 10000"/>
                <a:gd name="connsiteY59" fmla="*/ 9867 h 10000"/>
                <a:gd name="connsiteX60" fmla="*/ 1786 w 10000"/>
                <a:gd name="connsiteY60" fmla="*/ 9801 h 10000"/>
                <a:gd name="connsiteX61" fmla="*/ 1468 w 10000"/>
                <a:gd name="connsiteY61" fmla="*/ 9735 h 10000"/>
                <a:gd name="connsiteX62" fmla="*/ 1171 w 10000"/>
                <a:gd name="connsiteY62" fmla="*/ 9635 h 10000"/>
                <a:gd name="connsiteX63" fmla="*/ 873 w 10000"/>
                <a:gd name="connsiteY63" fmla="*/ 9536 h 10000"/>
                <a:gd name="connsiteX64" fmla="*/ 575 w 10000"/>
                <a:gd name="connsiteY64" fmla="*/ 9420 h 10000"/>
                <a:gd name="connsiteX65" fmla="*/ 278 w 10000"/>
                <a:gd name="connsiteY65" fmla="*/ 9287 h 10000"/>
                <a:gd name="connsiteX66" fmla="*/ 0 w 10000"/>
                <a:gd name="connsiteY66" fmla="*/ 9138 h 10000"/>
                <a:gd name="connsiteX0" fmla="*/ 0 w 10000"/>
                <a:gd name="connsiteY0" fmla="*/ 9073 h 9935"/>
                <a:gd name="connsiteX1" fmla="*/ 7221 w 10000"/>
                <a:gd name="connsiteY1" fmla="*/ 0 h 9935"/>
                <a:gd name="connsiteX2" fmla="*/ 7401 w 10000"/>
                <a:gd name="connsiteY2" fmla="*/ 84 h 9935"/>
                <a:gd name="connsiteX3" fmla="*/ 7659 w 10000"/>
                <a:gd name="connsiteY3" fmla="*/ 250 h 9935"/>
                <a:gd name="connsiteX4" fmla="*/ 7897 w 10000"/>
                <a:gd name="connsiteY4" fmla="*/ 433 h 9935"/>
                <a:gd name="connsiteX5" fmla="*/ 8135 w 10000"/>
                <a:gd name="connsiteY5" fmla="*/ 615 h 9935"/>
                <a:gd name="connsiteX6" fmla="*/ 8353 w 10000"/>
                <a:gd name="connsiteY6" fmla="*/ 797 h 9935"/>
                <a:gd name="connsiteX7" fmla="*/ 8571 w 10000"/>
                <a:gd name="connsiteY7" fmla="*/ 996 h 9935"/>
                <a:gd name="connsiteX8" fmla="*/ 8770 w 10000"/>
                <a:gd name="connsiteY8" fmla="*/ 1212 h 9935"/>
                <a:gd name="connsiteX9" fmla="*/ 8948 w 10000"/>
                <a:gd name="connsiteY9" fmla="*/ 1428 h 9935"/>
                <a:gd name="connsiteX10" fmla="*/ 9107 w 10000"/>
                <a:gd name="connsiteY10" fmla="*/ 1643 h 9935"/>
                <a:gd name="connsiteX11" fmla="*/ 9266 w 10000"/>
                <a:gd name="connsiteY11" fmla="*/ 1875 h 9935"/>
                <a:gd name="connsiteX12" fmla="*/ 9405 w 10000"/>
                <a:gd name="connsiteY12" fmla="*/ 2107 h 9935"/>
                <a:gd name="connsiteX13" fmla="*/ 9524 w 10000"/>
                <a:gd name="connsiteY13" fmla="*/ 2340 h 9935"/>
                <a:gd name="connsiteX14" fmla="*/ 9643 w 10000"/>
                <a:gd name="connsiteY14" fmla="*/ 2588 h 9935"/>
                <a:gd name="connsiteX15" fmla="*/ 9742 w 10000"/>
                <a:gd name="connsiteY15" fmla="*/ 2837 h 9935"/>
                <a:gd name="connsiteX16" fmla="*/ 9821 w 10000"/>
                <a:gd name="connsiteY16" fmla="*/ 3086 h 9935"/>
                <a:gd name="connsiteX17" fmla="*/ 9881 w 10000"/>
                <a:gd name="connsiteY17" fmla="*/ 3335 h 9935"/>
                <a:gd name="connsiteX18" fmla="*/ 9940 w 10000"/>
                <a:gd name="connsiteY18" fmla="*/ 3583 h 9935"/>
                <a:gd name="connsiteX19" fmla="*/ 9980 w 10000"/>
                <a:gd name="connsiteY19" fmla="*/ 3849 h 9935"/>
                <a:gd name="connsiteX20" fmla="*/ 10000 w 10000"/>
                <a:gd name="connsiteY20" fmla="*/ 4114 h 9935"/>
                <a:gd name="connsiteX21" fmla="*/ 10000 w 10000"/>
                <a:gd name="connsiteY21" fmla="*/ 4363 h 9935"/>
                <a:gd name="connsiteX22" fmla="*/ 10000 w 10000"/>
                <a:gd name="connsiteY22" fmla="*/ 4628 h 9935"/>
                <a:gd name="connsiteX23" fmla="*/ 9980 w 10000"/>
                <a:gd name="connsiteY23" fmla="*/ 4894 h 9935"/>
                <a:gd name="connsiteX24" fmla="*/ 9940 w 10000"/>
                <a:gd name="connsiteY24" fmla="*/ 5159 h 9935"/>
                <a:gd name="connsiteX25" fmla="*/ 9901 w 10000"/>
                <a:gd name="connsiteY25" fmla="*/ 5424 h 9935"/>
                <a:gd name="connsiteX26" fmla="*/ 9841 w 10000"/>
                <a:gd name="connsiteY26" fmla="*/ 5673 h 9935"/>
                <a:gd name="connsiteX27" fmla="*/ 9762 w 10000"/>
                <a:gd name="connsiteY27" fmla="*/ 5938 h 9935"/>
                <a:gd name="connsiteX28" fmla="*/ 9663 w 10000"/>
                <a:gd name="connsiteY28" fmla="*/ 6187 h 9935"/>
                <a:gd name="connsiteX29" fmla="*/ 9544 w 10000"/>
                <a:gd name="connsiteY29" fmla="*/ 6452 h 9935"/>
                <a:gd name="connsiteX30" fmla="*/ 9425 w 10000"/>
                <a:gd name="connsiteY30" fmla="*/ 6701 h 9935"/>
                <a:gd name="connsiteX31" fmla="*/ 9286 w 10000"/>
                <a:gd name="connsiteY31" fmla="*/ 6950 h 9935"/>
                <a:gd name="connsiteX32" fmla="*/ 9127 w 10000"/>
                <a:gd name="connsiteY32" fmla="*/ 7182 h 9935"/>
                <a:gd name="connsiteX33" fmla="*/ 8948 w 10000"/>
                <a:gd name="connsiteY33" fmla="*/ 7431 h 9935"/>
                <a:gd name="connsiteX34" fmla="*/ 8948 w 10000"/>
                <a:gd name="connsiteY34" fmla="*/ 7431 h 9935"/>
                <a:gd name="connsiteX35" fmla="*/ 8770 w 10000"/>
                <a:gd name="connsiteY35" fmla="*/ 7663 h 9935"/>
                <a:gd name="connsiteX36" fmla="*/ 8571 w 10000"/>
                <a:gd name="connsiteY36" fmla="*/ 7879 h 9935"/>
                <a:gd name="connsiteX37" fmla="*/ 8353 w 10000"/>
                <a:gd name="connsiteY37" fmla="*/ 8094 h 9935"/>
                <a:gd name="connsiteX38" fmla="*/ 8135 w 10000"/>
                <a:gd name="connsiteY38" fmla="*/ 8293 h 9935"/>
                <a:gd name="connsiteX39" fmla="*/ 7917 w 10000"/>
                <a:gd name="connsiteY39" fmla="*/ 8476 h 9935"/>
                <a:gd name="connsiteX40" fmla="*/ 7679 w 10000"/>
                <a:gd name="connsiteY40" fmla="*/ 8658 h 9935"/>
                <a:gd name="connsiteX41" fmla="*/ 7421 w 10000"/>
                <a:gd name="connsiteY41" fmla="*/ 8824 h 9935"/>
                <a:gd name="connsiteX42" fmla="*/ 7163 w 10000"/>
                <a:gd name="connsiteY42" fmla="*/ 8973 h 9935"/>
                <a:gd name="connsiteX43" fmla="*/ 6905 w 10000"/>
                <a:gd name="connsiteY43" fmla="*/ 9122 h 9935"/>
                <a:gd name="connsiteX44" fmla="*/ 6627 w 10000"/>
                <a:gd name="connsiteY44" fmla="*/ 9255 h 9935"/>
                <a:gd name="connsiteX45" fmla="*/ 6349 w 10000"/>
                <a:gd name="connsiteY45" fmla="*/ 9371 h 9935"/>
                <a:gd name="connsiteX46" fmla="*/ 6071 w 10000"/>
                <a:gd name="connsiteY46" fmla="*/ 9487 h 9935"/>
                <a:gd name="connsiteX47" fmla="*/ 5774 w 10000"/>
                <a:gd name="connsiteY47" fmla="*/ 9587 h 9935"/>
                <a:gd name="connsiteX48" fmla="*/ 5496 w 10000"/>
                <a:gd name="connsiteY48" fmla="*/ 9670 h 9935"/>
                <a:gd name="connsiteX49" fmla="*/ 5198 w 10000"/>
                <a:gd name="connsiteY49" fmla="*/ 9736 h 9935"/>
                <a:gd name="connsiteX50" fmla="*/ 4881 w 10000"/>
                <a:gd name="connsiteY50" fmla="*/ 9802 h 9935"/>
                <a:gd name="connsiteX51" fmla="*/ 4583 w 10000"/>
                <a:gd name="connsiteY51" fmla="*/ 9852 h 9935"/>
                <a:gd name="connsiteX52" fmla="*/ 4266 w 10000"/>
                <a:gd name="connsiteY52" fmla="*/ 9885 h 9935"/>
                <a:gd name="connsiteX53" fmla="*/ 3968 w 10000"/>
                <a:gd name="connsiteY53" fmla="*/ 9918 h 9935"/>
                <a:gd name="connsiteX54" fmla="*/ 3651 w 10000"/>
                <a:gd name="connsiteY54" fmla="*/ 9935 h 9935"/>
                <a:gd name="connsiteX55" fmla="*/ 3333 w 10000"/>
                <a:gd name="connsiteY55" fmla="*/ 9935 h 9935"/>
                <a:gd name="connsiteX56" fmla="*/ 3036 w 10000"/>
                <a:gd name="connsiteY56" fmla="*/ 9918 h 9935"/>
                <a:gd name="connsiteX57" fmla="*/ 2718 w 10000"/>
                <a:gd name="connsiteY57" fmla="*/ 9885 h 9935"/>
                <a:gd name="connsiteX58" fmla="*/ 2401 w 10000"/>
                <a:gd name="connsiteY58" fmla="*/ 9852 h 9935"/>
                <a:gd name="connsiteX59" fmla="*/ 2083 w 10000"/>
                <a:gd name="connsiteY59" fmla="*/ 9802 h 9935"/>
                <a:gd name="connsiteX60" fmla="*/ 1786 w 10000"/>
                <a:gd name="connsiteY60" fmla="*/ 9736 h 9935"/>
                <a:gd name="connsiteX61" fmla="*/ 1468 w 10000"/>
                <a:gd name="connsiteY61" fmla="*/ 9670 h 9935"/>
                <a:gd name="connsiteX62" fmla="*/ 1171 w 10000"/>
                <a:gd name="connsiteY62" fmla="*/ 9570 h 9935"/>
                <a:gd name="connsiteX63" fmla="*/ 873 w 10000"/>
                <a:gd name="connsiteY63" fmla="*/ 9471 h 9935"/>
                <a:gd name="connsiteX64" fmla="*/ 575 w 10000"/>
                <a:gd name="connsiteY64" fmla="*/ 9355 h 9935"/>
                <a:gd name="connsiteX65" fmla="*/ 278 w 10000"/>
                <a:gd name="connsiteY65" fmla="*/ 9222 h 9935"/>
                <a:gd name="connsiteX66" fmla="*/ 0 w 10000"/>
                <a:gd name="connsiteY66" fmla="*/ 9073 h 9935"/>
                <a:gd name="connsiteX0" fmla="*/ 0 w 10000"/>
                <a:gd name="connsiteY0" fmla="*/ 9132 h 10000"/>
                <a:gd name="connsiteX1" fmla="*/ 7221 w 10000"/>
                <a:gd name="connsiteY1" fmla="*/ 0 h 10000"/>
                <a:gd name="connsiteX2" fmla="*/ 7401 w 10000"/>
                <a:gd name="connsiteY2" fmla="*/ 85 h 10000"/>
                <a:gd name="connsiteX3" fmla="*/ 7659 w 10000"/>
                <a:gd name="connsiteY3" fmla="*/ 252 h 10000"/>
                <a:gd name="connsiteX4" fmla="*/ 7897 w 10000"/>
                <a:gd name="connsiteY4" fmla="*/ 436 h 10000"/>
                <a:gd name="connsiteX5" fmla="*/ 8135 w 10000"/>
                <a:gd name="connsiteY5" fmla="*/ 619 h 10000"/>
                <a:gd name="connsiteX6" fmla="*/ 8353 w 10000"/>
                <a:gd name="connsiteY6" fmla="*/ 802 h 10000"/>
                <a:gd name="connsiteX7" fmla="*/ 8571 w 10000"/>
                <a:gd name="connsiteY7" fmla="*/ 1003 h 10000"/>
                <a:gd name="connsiteX8" fmla="*/ 8770 w 10000"/>
                <a:gd name="connsiteY8" fmla="*/ 1220 h 10000"/>
                <a:gd name="connsiteX9" fmla="*/ 8948 w 10000"/>
                <a:gd name="connsiteY9" fmla="*/ 1437 h 10000"/>
                <a:gd name="connsiteX10" fmla="*/ 9107 w 10000"/>
                <a:gd name="connsiteY10" fmla="*/ 1654 h 10000"/>
                <a:gd name="connsiteX11" fmla="*/ 9266 w 10000"/>
                <a:gd name="connsiteY11" fmla="*/ 1887 h 10000"/>
                <a:gd name="connsiteX12" fmla="*/ 9405 w 10000"/>
                <a:gd name="connsiteY12" fmla="*/ 2121 h 10000"/>
                <a:gd name="connsiteX13" fmla="*/ 9524 w 10000"/>
                <a:gd name="connsiteY13" fmla="*/ 2355 h 10000"/>
                <a:gd name="connsiteX14" fmla="*/ 9643 w 10000"/>
                <a:gd name="connsiteY14" fmla="*/ 2605 h 10000"/>
                <a:gd name="connsiteX15" fmla="*/ 9742 w 10000"/>
                <a:gd name="connsiteY15" fmla="*/ 2856 h 10000"/>
                <a:gd name="connsiteX16" fmla="*/ 9821 w 10000"/>
                <a:gd name="connsiteY16" fmla="*/ 3106 h 10000"/>
                <a:gd name="connsiteX17" fmla="*/ 9881 w 10000"/>
                <a:gd name="connsiteY17" fmla="*/ 3357 h 10000"/>
                <a:gd name="connsiteX18" fmla="*/ 9940 w 10000"/>
                <a:gd name="connsiteY18" fmla="*/ 3606 h 10000"/>
                <a:gd name="connsiteX19" fmla="*/ 9980 w 10000"/>
                <a:gd name="connsiteY19" fmla="*/ 3874 h 10000"/>
                <a:gd name="connsiteX20" fmla="*/ 10000 w 10000"/>
                <a:gd name="connsiteY20" fmla="*/ 4141 h 10000"/>
                <a:gd name="connsiteX21" fmla="*/ 10000 w 10000"/>
                <a:gd name="connsiteY21" fmla="*/ 4392 h 10000"/>
                <a:gd name="connsiteX22" fmla="*/ 10000 w 10000"/>
                <a:gd name="connsiteY22" fmla="*/ 4658 h 10000"/>
                <a:gd name="connsiteX23" fmla="*/ 9980 w 10000"/>
                <a:gd name="connsiteY23" fmla="*/ 4926 h 10000"/>
                <a:gd name="connsiteX24" fmla="*/ 9940 w 10000"/>
                <a:gd name="connsiteY24" fmla="*/ 5193 h 10000"/>
                <a:gd name="connsiteX25" fmla="*/ 9901 w 10000"/>
                <a:gd name="connsiteY25" fmla="*/ 5459 h 10000"/>
                <a:gd name="connsiteX26" fmla="*/ 9841 w 10000"/>
                <a:gd name="connsiteY26" fmla="*/ 5710 h 10000"/>
                <a:gd name="connsiteX27" fmla="*/ 9762 w 10000"/>
                <a:gd name="connsiteY27" fmla="*/ 5977 h 10000"/>
                <a:gd name="connsiteX28" fmla="*/ 9663 w 10000"/>
                <a:gd name="connsiteY28" fmla="*/ 6227 h 10000"/>
                <a:gd name="connsiteX29" fmla="*/ 9544 w 10000"/>
                <a:gd name="connsiteY29" fmla="*/ 6494 h 10000"/>
                <a:gd name="connsiteX30" fmla="*/ 9425 w 10000"/>
                <a:gd name="connsiteY30" fmla="*/ 6745 h 10000"/>
                <a:gd name="connsiteX31" fmla="*/ 9286 w 10000"/>
                <a:gd name="connsiteY31" fmla="*/ 6995 h 10000"/>
                <a:gd name="connsiteX32" fmla="*/ 9127 w 10000"/>
                <a:gd name="connsiteY32" fmla="*/ 7229 h 10000"/>
                <a:gd name="connsiteX33" fmla="*/ 8948 w 10000"/>
                <a:gd name="connsiteY33" fmla="*/ 7480 h 10000"/>
                <a:gd name="connsiteX34" fmla="*/ 8948 w 10000"/>
                <a:gd name="connsiteY34" fmla="*/ 7480 h 10000"/>
                <a:gd name="connsiteX35" fmla="*/ 8770 w 10000"/>
                <a:gd name="connsiteY35" fmla="*/ 7713 h 10000"/>
                <a:gd name="connsiteX36" fmla="*/ 8571 w 10000"/>
                <a:gd name="connsiteY36" fmla="*/ 7931 h 10000"/>
                <a:gd name="connsiteX37" fmla="*/ 8353 w 10000"/>
                <a:gd name="connsiteY37" fmla="*/ 8147 h 10000"/>
                <a:gd name="connsiteX38" fmla="*/ 8135 w 10000"/>
                <a:gd name="connsiteY38" fmla="*/ 8347 h 10000"/>
                <a:gd name="connsiteX39" fmla="*/ 7917 w 10000"/>
                <a:gd name="connsiteY39" fmla="*/ 8531 h 10000"/>
                <a:gd name="connsiteX40" fmla="*/ 7679 w 10000"/>
                <a:gd name="connsiteY40" fmla="*/ 8715 h 10000"/>
                <a:gd name="connsiteX41" fmla="*/ 7421 w 10000"/>
                <a:gd name="connsiteY41" fmla="*/ 8882 h 10000"/>
                <a:gd name="connsiteX42" fmla="*/ 7163 w 10000"/>
                <a:gd name="connsiteY42" fmla="*/ 9032 h 10000"/>
                <a:gd name="connsiteX43" fmla="*/ 6905 w 10000"/>
                <a:gd name="connsiteY43" fmla="*/ 9182 h 10000"/>
                <a:gd name="connsiteX44" fmla="*/ 6627 w 10000"/>
                <a:gd name="connsiteY44" fmla="*/ 9316 h 10000"/>
                <a:gd name="connsiteX45" fmla="*/ 6349 w 10000"/>
                <a:gd name="connsiteY45" fmla="*/ 9432 h 10000"/>
                <a:gd name="connsiteX46" fmla="*/ 6071 w 10000"/>
                <a:gd name="connsiteY46" fmla="*/ 9549 h 10000"/>
                <a:gd name="connsiteX47" fmla="*/ 5774 w 10000"/>
                <a:gd name="connsiteY47" fmla="*/ 9650 h 10000"/>
                <a:gd name="connsiteX48" fmla="*/ 5496 w 10000"/>
                <a:gd name="connsiteY48" fmla="*/ 9733 h 10000"/>
                <a:gd name="connsiteX49" fmla="*/ 5198 w 10000"/>
                <a:gd name="connsiteY49" fmla="*/ 9800 h 10000"/>
                <a:gd name="connsiteX50" fmla="*/ 4881 w 10000"/>
                <a:gd name="connsiteY50" fmla="*/ 9866 h 10000"/>
                <a:gd name="connsiteX51" fmla="*/ 4583 w 10000"/>
                <a:gd name="connsiteY51" fmla="*/ 9916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6 h 10000"/>
                <a:gd name="connsiteX59" fmla="*/ 2083 w 10000"/>
                <a:gd name="connsiteY59" fmla="*/ 9866 h 10000"/>
                <a:gd name="connsiteX60" fmla="*/ 1786 w 10000"/>
                <a:gd name="connsiteY60" fmla="*/ 9800 h 10000"/>
                <a:gd name="connsiteX61" fmla="*/ 1468 w 10000"/>
                <a:gd name="connsiteY61" fmla="*/ 9733 h 10000"/>
                <a:gd name="connsiteX62" fmla="*/ 1171 w 10000"/>
                <a:gd name="connsiteY62" fmla="*/ 9633 h 10000"/>
                <a:gd name="connsiteX63" fmla="*/ 873 w 10000"/>
                <a:gd name="connsiteY63" fmla="*/ 9533 h 10000"/>
                <a:gd name="connsiteX64" fmla="*/ 575 w 10000"/>
                <a:gd name="connsiteY64" fmla="*/ 9416 h 10000"/>
                <a:gd name="connsiteX65" fmla="*/ 278 w 10000"/>
                <a:gd name="connsiteY65" fmla="*/ 9282 h 10000"/>
                <a:gd name="connsiteX66" fmla="*/ 0 w 10000"/>
                <a:gd name="connsiteY66" fmla="*/ 9132 h 10000"/>
                <a:gd name="connsiteX0" fmla="*/ 0 w 10000"/>
                <a:gd name="connsiteY0" fmla="*/ 9132 h 10000"/>
                <a:gd name="connsiteX1" fmla="*/ 7221 w 10000"/>
                <a:gd name="connsiteY1" fmla="*/ 0 h 10000"/>
                <a:gd name="connsiteX2" fmla="*/ 7401 w 10000"/>
                <a:gd name="connsiteY2" fmla="*/ 85 h 10000"/>
                <a:gd name="connsiteX3" fmla="*/ 7659 w 10000"/>
                <a:gd name="connsiteY3" fmla="*/ 252 h 10000"/>
                <a:gd name="connsiteX4" fmla="*/ 7897 w 10000"/>
                <a:gd name="connsiteY4" fmla="*/ 436 h 10000"/>
                <a:gd name="connsiteX5" fmla="*/ 8135 w 10000"/>
                <a:gd name="connsiteY5" fmla="*/ 619 h 10000"/>
                <a:gd name="connsiteX6" fmla="*/ 8353 w 10000"/>
                <a:gd name="connsiteY6" fmla="*/ 802 h 10000"/>
                <a:gd name="connsiteX7" fmla="*/ 8571 w 10000"/>
                <a:gd name="connsiteY7" fmla="*/ 1003 h 10000"/>
                <a:gd name="connsiteX8" fmla="*/ 8770 w 10000"/>
                <a:gd name="connsiteY8" fmla="*/ 1220 h 10000"/>
                <a:gd name="connsiteX9" fmla="*/ 8948 w 10000"/>
                <a:gd name="connsiteY9" fmla="*/ 1437 h 10000"/>
                <a:gd name="connsiteX10" fmla="*/ 9107 w 10000"/>
                <a:gd name="connsiteY10" fmla="*/ 1654 h 10000"/>
                <a:gd name="connsiteX11" fmla="*/ 9266 w 10000"/>
                <a:gd name="connsiteY11" fmla="*/ 1887 h 10000"/>
                <a:gd name="connsiteX12" fmla="*/ 9405 w 10000"/>
                <a:gd name="connsiteY12" fmla="*/ 2121 h 10000"/>
                <a:gd name="connsiteX13" fmla="*/ 9524 w 10000"/>
                <a:gd name="connsiteY13" fmla="*/ 2355 h 10000"/>
                <a:gd name="connsiteX14" fmla="*/ 9643 w 10000"/>
                <a:gd name="connsiteY14" fmla="*/ 2605 h 10000"/>
                <a:gd name="connsiteX15" fmla="*/ 9742 w 10000"/>
                <a:gd name="connsiteY15" fmla="*/ 2856 h 10000"/>
                <a:gd name="connsiteX16" fmla="*/ 9821 w 10000"/>
                <a:gd name="connsiteY16" fmla="*/ 3106 h 10000"/>
                <a:gd name="connsiteX17" fmla="*/ 9881 w 10000"/>
                <a:gd name="connsiteY17" fmla="*/ 3357 h 10000"/>
                <a:gd name="connsiteX18" fmla="*/ 9940 w 10000"/>
                <a:gd name="connsiteY18" fmla="*/ 3606 h 10000"/>
                <a:gd name="connsiteX19" fmla="*/ 9980 w 10000"/>
                <a:gd name="connsiteY19" fmla="*/ 3874 h 10000"/>
                <a:gd name="connsiteX20" fmla="*/ 10000 w 10000"/>
                <a:gd name="connsiteY20" fmla="*/ 4141 h 10000"/>
                <a:gd name="connsiteX21" fmla="*/ 10000 w 10000"/>
                <a:gd name="connsiteY21" fmla="*/ 4392 h 10000"/>
                <a:gd name="connsiteX22" fmla="*/ 10000 w 10000"/>
                <a:gd name="connsiteY22" fmla="*/ 4658 h 10000"/>
                <a:gd name="connsiteX23" fmla="*/ 9980 w 10000"/>
                <a:gd name="connsiteY23" fmla="*/ 4926 h 10000"/>
                <a:gd name="connsiteX24" fmla="*/ 9940 w 10000"/>
                <a:gd name="connsiteY24" fmla="*/ 5193 h 10000"/>
                <a:gd name="connsiteX25" fmla="*/ 9901 w 10000"/>
                <a:gd name="connsiteY25" fmla="*/ 5459 h 10000"/>
                <a:gd name="connsiteX26" fmla="*/ 9841 w 10000"/>
                <a:gd name="connsiteY26" fmla="*/ 5710 h 10000"/>
                <a:gd name="connsiteX27" fmla="*/ 9762 w 10000"/>
                <a:gd name="connsiteY27" fmla="*/ 5977 h 10000"/>
                <a:gd name="connsiteX28" fmla="*/ 9663 w 10000"/>
                <a:gd name="connsiteY28" fmla="*/ 6227 h 10000"/>
                <a:gd name="connsiteX29" fmla="*/ 9544 w 10000"/>
                <a:gd name="connsiteY29" fmla="*/ 6494 h 10000"/>
                <a:gd name="connsiteX30" fmla="*/ 9425 w 10000"/>
                <a:gd name="connsiteY30" fmla="*/ 6745 h 10000"/>
                <a:gd name="connsiteX31" fmla="*/ 9286 w 10000"/>
                <a:gd name="connsiteY31" fmla="*/ 6995 h 10000"/>
                <a:gd name="connsiteX32" fmla="*/ 9127 w 10000"/>
                <a:gd name="connsiteY32" fmla="*/ 7229 h 10000"/>
                <a:gd name="connsiteX33" fmla="*/ 8948 w 10000"/>
                <a:gd name="connsiteY33" fmla="*/ 7480 h 10000"/>
                <a:gd name="connsiteX34" fmla="*/ 8948 w 10000"/>
                <a:gd name="connsiteY34" fmla="*/ 7480 h 10000"/>
                <a:gd name="connsiteX35" fmla="*/ 8770 w 10000"/>
                <a:gd name="connsiteY35" fmla="*/ 7713 h 10000"/>
                <a:gd name="connsiteX36" fmla="*/ 8571 w 10000"/>
                <a:gd name="connsiteY36" fmla="*/ 7931 h 10000"/>
                <a:gd name="connsiteX37" fmla="*/ 8353 w 10000"/>
                <a:gd name="connsiteY37" fmla="*/ 8147 h 10000"/>
                <a:gd name="connsiteX38" fmla="*/ 8135 w 10000"/>
                <a:gd name="connsiteY38" fmla="*/ 8347 h 10000"/>
                <a:gd name="connsiteX39" fmla="*/ 7917 w 10000"/>
                <a:gd name="connsiteY39" fmla="*/ 8531 h 10000"/>
                <a:gd name="connsiteX40" fmla="*/ 7679 w 10000"/>
                <a:gd name="connsiteY40" fmla="*/ 8715 h 10000"/>
                <a:gd name="connsiteX41" fmla="*/ 7421 w 10000"/>
                <a:gd name="connsiteY41" fmla="*/ 8882 h 10000"/>
                <a:gd name="connsiteX42" fmla="*/ 7163 w 10000"/>
                <a:gd name="connsiteY42" fmla="*/ 9032 h 10000"/>
                <a:gd name="connsiteX43" fmla="*/ 6905 w 10000"/>
                <a:gd name="connsiteY43" fmla="*/ 9182 h 10000"/>
                <a:gd name="connsiteX44" fmla="*/ 6627 w 10000"/>
                <a:gd name="connsiteY44" fmla="*/ 9316 h 10000"/>
                <a:gd name="connsiteX45" fmla="*/ 6349 w 10000"/>
                <a:gd name="connsiteY45" fmla="*/ 9432 h 10000"/>
                <a:gd name="connsiteX46" fmla="*/ 6071 w 10000"/>
                <a:gd name="connsiteY46" fmla="*/ 9549 h 10000"/>
                <a:gd name="connsiteX47" fmla="*/ 5774 w 10000"/>
                <a:gd name="connsiteY47" fmla="*/ 9650 h 10000"/>
                <a:gd name="connsiteX48" fmla="*/ 5496 w 10000"/>
                <a:gd name="connsiteY48" fmla="*/ 9733 h 10000"/>
                <a:gd name="connsiteX49" fmla="*/ 5198 w 10000"/>
                <a:gd name="connsiteY49" fmla="*/ 9800 h 10000"/>
                <a:gd name="connsiteX50" fmla="*/ 4881 w 10000"/>
                <a:gd name="connsiteY50" fmla="*/ 9866 h 10000"/>
                <a:gd name="connsiteX51" fmla="*/ 4583 w 10000"/>
                <a:gd name="connsiteY51" fmla="*/ 9916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6 h 10000"/>
                <a:gd name="connsiteX59" fmla="*/ 2083 w 10000"/>
                <a:gd name="connsiteY59" fmla="*/ 9866 h 10000"/>
                <a:gd name="connsiteX60" fmla="*/ 1786 w 10000"/>
                <a:gd name="connsiteY60" fmla="*/ 9800 h 10000"/>
                <a:gd name="connsiteX61" fmla="*/ 1468 w 10000"/>
                <a:gd name="connsiteY61" fmla="*/ 9733 h 10000"/>
                <a:gd name="connsiteX62" fmla="*/ 1171 w 10000"/>
                <a:gd name="connsiteY62" fmla="*/ 9633 h 10000"/>
                <a:gd name="connsiteX63" fmla="*/ 873 w 10000"/>
                <a:gd name="connsiteY63" fmla="*/ 9533 h 10000"/>
                <a:gd name="connsiteX64" fmla="*/ 575 w 10000"/>
                <a:gd name="connsiteY64" fmla="*/ 9416 h 10000"/>
                <a:gd name="connsiteX65" fmla="*/ 278 w 10000"/>
                <a:gd name="connsiteY65" fmla="*/ 9282 h 10000"/>
                <a:gd name="connsiteX66" fmla="*/ 0 w 10000"/>
                <a:gd name="connsiteY66" fmla="*/ 9132 h 10000"/>
                <a:gd name="connsiteX0" fmla="*/ 0 w 10000"/>
                <a:gd name="connsiteY0" fmla="*/ 9132 h 10000"/>
                <a:gd name="connsiteX1" fmla="*/ 7221 w 10000"/>
                <a:gd name="connsiteY1" fmla="*/ 0 h 10000"/>
                <a:gd name="connsiteX2" fmla="*/ 7401 w 10000"/>
                <a:gd name="connsiteY2" fmla="*/ 85 h 10000"/>
                <a:gd name="connsiteX3" fmla="*/ 7659 w 10000"/>
                <a:gd name="connsiteY3" fmla="*/ 252 h 10000"/>
                <a:gd name="connsiteX4" fmla="*/ 7897 w 10000"/>
                <a:gd name="connsiteY4" fmla="*/ 436 h 10000"/>
                <a:gd name="connsiteX5" fmla="*/ 8135 w 10000"/>
                <a:gd name="connsiteY5" fmla="*/ 619 h 10000"/>
                <a:gd name="connsiteX6" fmla="*/ 8353 w 10000"/>
                <a:gd name="connsiteY6" fmla="*/ 802 h 10000"/>
                <a:gd name="connsiteX7" fmla="*/ 8571 w 10000"/>
                <a:gd name="connsiteY7" fmla="*/ 1003 h 10000"/>
                <a:gd name="connsiteX8" fmla="*/ 8770 w 10000"/>
                <a:gd name="connsiteY8" fmla="*/ 1220 h 10000"/>
                <a:gd name="connsiteX9" fmla="*/ 8948 w 10000"/>
                <a:gd name="connsiteY9" fmla="*/ 1437 h 10000"/>
                <a:gd name="connsiteX10" fmla="*/ 9107 w 10000"/>
                <a:gd name="connsiteY10" fmla="*/ 1654 h 10000"/>
                <a:gd name="connsiteX11" fmla="*/ 9266 w 10000"/>
                <a:gd name="connsiteY11" fmla="*/ 1887 h 10000"/>
                <a:gd name="connsiteX12" fmla="*/ 9405 w 10000"/>
                <a:gd name="connsiteY12" fmla="*/ 2121 h 10000"/>
                <a:gd name="connsiteX13" fmla="*/ 9524 w 10000"/>
                <a:gd name="connsiteY13" fmla="*/ 2355 h 10000"/>
                <a:gd name="connsiteX14" fmla="*/ 9643 w 10000"/>
                <a:gd name="connsiteY14" fmla="*/ 2605 h 10000"/>
                <a:gd name="connsiteX15" fmla="*/ 9742 w 10000"/>
                <a:gd name="connsiteY15" fmla="*/ 2856 h 10000"/>
                <a:gd name="connsiteX16" fmla="*/ 9821 w 10000"/>
                <a:gd name="connsiteY16" fmla="*/ 3106 h 10000"/>
                <a:gd name="connsiteX17" fmla="*/ 9881 w 10000"/>
                <a:gd name="connsiteY17" fmla="*/ 3357 h 10000"/>
                <a:gd name="connsiteX18" fmla="*/ 9940 w 10000"/>
                <a:gd name="connsiteY18" fmla="*/ 3606 h 10000"/>
                <a:gd name="connsiteX19" fmla="*/ 9980 w 10000"/>
                <a:gd name="connsiteY19" fmla="*/ 3874 h 10000"/>
                <a:gd name="connsiteX20" fmla="*/ 10000 w 10000"/>
                <a:gd name="connsiteY20" fmla="*/ 4141 h 10000"/>
                <a:gd name="connsiteX21" fmla="*/ 10000 w 10000"/>
                <a:gd name="connsiteY21" fmla="*/ 4392 h 10000"/>
                <a:gd name="connsiteX22" fmla="*/ 10000 w 10000"/>
                <a:gd name="connsiteY22" fmla="*/ 4658 h 10000"/>
                <a:gd name="connsiteX23" fmla="*/ 9980 w 10000"/>
                <a:gd name="connsiteY23" fmla="*/ 4926 h 10000"/>
                <a:gd name="connsiteX24" fmla="*/ 9940 w 10000"/>
                <a:gd name="connsiteY24" fmla="*/ 5193 h 10000"/>
                <a:gd name="connsiteX25" fmla="*/ 9901 w 10000"/>
                <a:gd name="connsiteY25" fmla="*/ 5459 h 10000"/>
                <a:gd name="connsiteX26" fmla="*/ 9841 w 10000"/>
                <a:gd name="connsiteY26" fmla="*/ 5710 h 10000"/>
                <a:gd name="connsiteX27" fmla="*/ 9762 w 10000"/>
                <a:gd name="connsiteY27" fmla="*/ 5977 h 10000"/>
                <a:gd name="connsiteX28" fmla="*/ 9663 w 10000"/>
                <a:gd name="connsiteY28" fmla="*/ 6227 h 10000"/>
                <a:gd name="connsiteX29" fmla="*/ 9544 w 10000"/>
                <a:gd name="connsiteY29" fmla="*/ 6494 h 10000"/>
                <a:gd name="connsiteX30" fmla="*/ 9425 w 10000"/>
                <a:gd name="connsiteY30" fmla="*/ 6745 h 10000"/>
                <a:gd name="connsiteX31" fmla="*/ 9286 w 10000"/>
                <a:gd name="connsiteY31" fmla="*/ 6995 h 10000"/>
                <a:gd name="connsiteX32" fmla="*/ 9127 w 10000"/>
                <a:gd name="connsiteY32" fmla="*/ 7229 h 10000"/>
                <a:gd name="connsiteX33" fmla="*/ 8948 w 10000"/>
                <a:gd name="connsiteY33" fmla="*/ 7480 h 10000"/>
                <a:gd name="connsiteX34" fmla="*/ 8948 w 10000"/>
                <a:gd name="connsiteY34" fmla="*/ 7480 h 10000"/>
                <a:gd name="connsiteX35" fmla="*/ 8770 w 10000"/>
                <a:gd name="connsiteY35" fmla="*/ 7713 h 10000"/>
                <a:gd name="connsiteX36" fmla="*/ 8571 w 10000"/>
                <a:gd name="connsiteY36" fmla="*/ 7931 h 10000"/>
                <a:gd name="connsiteX37" fmla="*/ 8353 w 10000"/>
                <a:gd name="connsiteY37" fmla="*/ 8147 h 10000"/>
                <a:gd name="connsiteX38" fmla="*/ 8135 w 10000"/>
                <a:gd name="connsiteY38" fmla="*/ 8347 h 10000"/>
                <a:gd name="connsiteX39" fmla="*/ 7917 w 10000"/>
                <a:gd name="connsiteY39" fmla="*/ 8531 h 10000"/>
                <a:gd name="connsiteX40" fmla="*/ 7679 w 10000"/>
                <a:gd name="connsiteY40" fmla="*/ 8715 h 10000"/>
                <a:gd name="connsiteX41" fmla="*/ 7421 w 10000"/>
                <a:gd name="connsiteY41" fmla="*/ 8882 h 10000"/>
                <a:gd name="connsiteX42" fmla="*/ 7163 w 10000"/>
                <a:gd name="connsiteY42" fmla="*/ 9032 h 10000"/>
                <a:gd name="connsiteX43" fmla="*/ 6905 w 10000"/>
                <a:gd name="connsiteY43" fmla="*/ 9182 h 10000"/>
                <a:gd name="connsiteX44" fmla="*/ 6627 w 10000"/>
                <a:gd name="connsiteY44" fmla="*/ 9316 h 10000"/>
                <a:gd name="connsiteX45" fmla="*/ 6349 w 10000"/>
                <a:gd name="connsiteY45" fmla="*/ 9432 h 10000"/>
                <a:gd name="connsiteX46" fmla="*/ 6071 w 10000"/>
                <a:gd name="connsiteY46" fmla="*/ 9549 h 10000"/>
                <a:gd name="connsiteX47" fmla="*/ 5774 w 10000"/>
                <a:gd name="connsiteY47" fmla="*/ 9650 h 10000"/>
                <a:gd name="connsiteX48" fmla="*/ 5496 w 10000"/>
                <a:gd name="connsiteY48" fmla="*/ 9733 h 10000"/>
                <a:gd name="connsiteX49" fmla="*/ 5198 w 10000"/>
                <a:gd name="connsiteY49" fmla="*/ 9800 h 10000"/>
                <a:gd name="connsiteX50" fmla="*/ 4881 w 10000"/>
                <a:gd name="connsiteY50" fmla="*/ 9866 h 10000"/>
                <a:gd name="connsiteX51" fmla="*/ 4583 w 10000"/>
                <a:gd name="connsiteY51" fmla="*/ 9916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6 h 10000"/>
                <a:gd name="connsiteX59" fmla="*/ 2083 w 10000"/>
                <a:gd name="connsiteY59" fmla="*/ 9866 h 10000"/>
                <a:gd name="connsiteX60" fmla="*/ 1786 w 10000"/>
                <a:gd name="connsiteY60" fmla="*/ 9800 h 10000"/>
                <a:gd name="connsiteX61" fmla="*/ 1468 w 10000"/>
                <a:gd name="connsiteY61" fmla="*/ 9733 h 10000"/>
                <a:gd name="connsiteX62" fmla="*/ 1171 w 10000"/>
                <a:gd name="connsiteY62" fmla="*/ 9633 h 10000"/>
                <a:gd name="connsiteX63" fmla="*/ 873 w 10000"/>
                <a:gd name="connsiteY63" fmla="*/ 9533 h 10000"/>
                <a:gd name="connsiteX64" fmla="*/ 575 w 10000"/>
                <a:gd name="connsiteY64" fmla="*/ 9416 h 10000"/>
                <a:gd name="connsiteX65" fmla="*/ 278 w 10000"/>
                <a:gd name="connsiteY65" fmla="*/ 9282 h 10000"/>
                <a:gd name="connsiteX66" fmla="*/ 0 w 10000"/>
                <a:gd name="connsiteY66" fmla="*/ 9132 h 10000"/>
                <a:gd name="connsiteX0" fmla="*/ 0 w 10000"/>
                <a:gd name="connsiteY0" fmla="*/ 9132 h 10000"/>
                <a:gd name="connsiteX1" fmla="*/ 7221 w 10000"/>
                <a:gd name="connsiteY1" fmla="*/ 0 h 10000"/>
                <a:gd name="connsiteX2" fmla="*/ 7401 w 10000"/>
                <a:gd name="connsiteY2" fmla="*/ 85 h 10000"/>
                <a:gd name="connsiteX3" fmla="*/ 7659 w 10000"/>
                <a:gd name="connsiteY3" fmla="*/ 252 h 10000"/>
                <a:gd name="connsiteX4" fmla="*/ 7897 w 10000"/>
                <a:gd name="connsiteY4" fmla="*/ 436 h 10000"/>
                <a:gd name="connsiteX5" fmla="*/ 8135 w 10000"/>
                <a:gd name="connsiteY5" fmla="*/ 619 h 10000"/>
                <a:gd name="connsiteX6" fmla="*/ 8353 w 10000"/>
                <a:gd name="connsiteY6" fmla="*/ 802 h 10000"/>
                <a:gd name="connsiteX7" fmla="*/ 8571 w 10000"/>
                <a:gd name="connsiteY7" fmla="*/ 1003 h 10000"/>
                <a:gd name="connsiteX8" fmla="*/ 8770 w 10000"/>
                <a:gd name="connsiteY8" fmla="*/ 1220 h 10000"/>
                <a:gd name="connsiteX9" fmla="*/ 8948 w 10000"/>
                <a:gd name="connsiteY9" fmla="*/ 1437 h 10000"/>
                <a:gd name="connsiteX10" fmla="*/ 9107 w 10000"/>
                <a:gd name="connsiteY10" fmla="*/ 1654 h 10000"/>
                <a:gd name="connsiteX11" fmla="*/ 9266 w 10000"/>
                <a:gd name="connsiteY11" fmla="*/ 1887 h 10000"/>
                <a:gd name="connsiteX12" fmla="*/ 9405 w 10000"/>
                <a:gd name="connsiteY12" fmla="*/ 2121 h 10000"/>
                <a:gd name="connsiteX13" fmla="*/ 9524 w 10000"/>
                <a:gd name="connsiteY13" fmla="*/ 2355 h 10000"/>
                <a:gd name="connsiteX14" fmla="*/ 9643 w 10000"/>
                <a:gd name="connsiteY14" fmla="*/ 2605 h 10000"/>
                <a:gd name="connsiteX15" fmla="*/ 9742 w 10000"/>
                <a:gd name="connsiteY15" fmla="*/ 2856 h 10000"/>
                <a:gd name="connsiteX16" fmla="*/ 9821 w 10000"/>
                <a:gd name="connsiteY16" fmla="*/ 3106 h 10000"/>
                <a:gd name="connsiteX17" fmla="*/ 9881 w 10000"/>
                <a:gd name="connsiteY17" fmla="*/ 3357 h 10000"/>
                <a:gd name="connsiteX18" fmla="*/ 9940 w 10000"/>
                <a:gd name="connsiteY18" fmla="*/ 3606 h 10000"/>
                <a:gd name="connsiteX19" fmla="*/ 9980 w 10000"/>
                <a:gd name="connsiteY19" fmla="*/ 3874 h 10000"/>
                <a:gd name="connsiteX20" fmla="*/ 10000 w 10000"/>
                <a:gd name="connsiteY20" fmla="*/ 4141 h 10000"/>
                <a:gd name="connsiteX21" fmla="*/ 10000 w 10000"/>
                <a:gd name="connsiteY21" fmla="*/ 4392 h 10000"/>
                <a:gd name="connsiteX22" fmla="*/ 10000 w 10000"/>
                <a:gd name="connsiteY22" fmla="*/ 4658 h 10000"/>
                <a:gd name="connsiteX23" fmla="*/ 9980 w 10000"/>
                <a:gd name="connsiteY23" fmla="*/ 4926 h 10000"/>
                <a:gd name="connsiteX24" fmla="*/ 9940 w 10000"/>
                <a:gd name="connsiteY24" fmla="*/ 5193 h 10000"/>
                <a:gd name="connsiteX25" fmla="*/ 9901 w 10000"/>
                <a:gd name="connsiteY25" fmla="*/ 5459 h 10000"/>
                <a:gd name="connsiteX26" fmla="*/ 9841 w 10000"/>
                <a:gd name="connsiteY26" fmla="*/ 5710 h 10000"/>
                <a:gd name="connsiteX27" fmla="*/ 9762 w 10000"/>
                <a:gd name="connsiteY27" fmla="*/ 5977 h 10000"/>
                <a:gd name="connsiteX28" fmla="*/ 9663 w 10000"/>
                <a:gd name="connsiteY28" fmla="*/ 6227 h 10000"/>
                <a:gd name="connsiteX29" fmla="*/ 9544 w 10000"/>
                <a:gd name="connsiteY29" fmla="*/ 6494 h 10000"/>
                <a:gd name="connsiteX30" fmla="*/ 9425 w 10000"/>
                <a:gd name="connsiteY30" fmla="*/ 6745 h 10000"/>
                <a:gd name="connsiteX31" fmla="*/ 9286 w 10000"/>
                <a:gd name="connsiteY31" fmla="*/ 6995 h 10000"/>
                <a:gd name="connsiteX32" fmla="*/ 9127 w 10000"/>
                <a:gd name="connsiteY32" fmla="*/ 7229 h 10000"/>
                <a:gd name="connsiteX33" fmla="*/ 8948 w 10000"/>
                <a:gd name="connsiteY33" fmla="*/ 7480 h 10000"/>
                <a:gd name="connsiteX34" fmla="*/ 8948 w 10000"/>
                <a:gd name="connsiteY34" fmla="*/ 7480 h 10000"/>
                <a:gd name="connsiteX35" fmla="*/ 8770 w 10000"/>
                <a:gd name="connsiteY35" fmla="*/ 7713 h 10000"/>
                <a:gd name="connsiteX36" fmla="*/ 8571 w 10000"/>
                <a:gd name="connsiteY36" fmla="*/ 7931 h 10000"/>
                <a:gd name="connsiteX37" fmla="*/ 8353 w 10000"/>
                <a:gd name="connsiteY37" fmla="*/ 8147 h 10000"/>
                <a:gd name="connsiteX38" fmla="*/ 8135 w 10000"/>
                <a:gd name="connsiteY38" fmla="*/ 8347 h 10000"/>
                <a:gd name="connsiteX39" fmla="*/ 7917 w 10000"/>
                <a:gd name="connsiteY39" fmla="*/ 8531 h 10000"/>
                <a:gd name="connsiteX40" fmla="*/ 7679 w 10000"/>
                <a:gd name="connsiteY40" fmla="*/ 8715 h 10000"/>
                <a:gd name="connsiteX41" fmla="*/ 7421 w 10000"/>
                <a:gd name="connsiteY41" fmla="*/ 8882 h 10000"/>
                <a:gd name="connsiteX42" fmla="*/ 7163 w 10000"/>
                <a:gd name="connsiteY42" fmla="*/ 9032 h 10000"/>
                <a:gd name="connsiteX43" fmla="*/ 6905 w 10000"/>
                <a:gd name="connsiteY43" fmla="*/ 9182 h 10000"/>
                <a:gd name="connsiteX44" fmla="*/ 6627 w 10000"/>
                <a:gd name="connsiteY44" fmla="*/ 9316 h 10000"/>
                <a:gd name="connsiteX45" fmla="*/ 6349 w 10000"/>
                <a:gd name="connsiteY45" fmla="*/ 9432 h 10000"/>
                <a:gd name="connsiteX46" fmla="*/ 6071 w 10000"/>
                <a:gd name="connsiteY46" fmla="*/ 9549 h 10000"/>
                <a:gd name="connsiteX47" fmla="*/ 5774 w 10000"/>
                <a:gd name="connsiteY47" fmla="*/ 9650 h 10000"/>
                <a:gd name="connsiteX48" fmla="*/ 5496 w 10000"/>
                <a:gd name="connsiteY48" fmla="*/ 9733 h 10000"/>
                <a:gd name="connsiteX49" fmla="*/ 5198 w 10000"/>
                <a:gd name="connsiteY49" fmla="*/ 9800 h 10000"/>
                <a:gd name="connsiteX50" fmla="*/ 4881 w 10000"/>
                <a:gd name="connsiteY50" fmla="*/ 9866 h 10000"/>
                <a:gd name="connsiteX51" fmla="*/ 4583 w 10000"/>
                <a:gd name="connsiteY51" fmla="*/ 9916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6 h 10000"/>
                <a:gd name="connsiteX59" fmla="*/ 2083 w 10000"/>
                <a:gd name="connsiteY59" fmla="*/ 9866 h 10000"/>
                <a:gd name="connsiteX60" fmla="*/ 1786 w 10000"/>
                <a:gd name="connsiteY60" fmla="*/ 9800 h 10000"/>
                <a:gd name="connsiteX61" fmla="*/ 1468 w 10000"/>
                <a:gd name="connsiteY61" fmla="*/ 9733 h 10000"/>
                <a:gd name="connsiteX62" fmla="*/ 1171 w 10000"/>
                <a:gd name="connsiteY62" fmla="*/ 9633 h 10000"/>
                <a:gd name="connsiteX63" fmla="*/ 873 w 10000"/>
                <a:gd name="connsiteY63" fmla="*/ 9533 h 10000"/>
                <a:gd name="connsiteX64" fmla="*/ 575 w 10000"/>
                <a:gd name="connsiteY64" fmla="*/ 9416 h 10000"/>
                <a:gd name="connsiteX65" fmla="*/ 278 w 10000"/>
                <a:gd name="connsiteY65" fmla="*/ 9282 h 10000"/>
                <a:gd name="connsiteX66" fmla="*/ 0 w 10000"/>
                <a:gd name="connsiteY66" fmla="*/ 9132 h 10000"/>
                <a:gd name="connsiteX0" fmla="*/ 0 w 10000"/>
                <a:gd name="connsiteY0" fmla="*/ 9132 h 10000"/>
                <a:gd name="connsiteX1" fmla="*/ 7221 w 10000"/>
                <a:gd name="connsiteY1" fmla="*/ 0 h 10000"/>
                <a:gd name="connsiteX2" fmla="*/ 7401 w 10000"/>
                <a:gd name="connsiteY2" fmla="*/ 85 h 10000"/>
                <a:gd name="connsiteX3" fmla="*/ 7659 w 10000"/>
                <a:gd name="connsiteY3" fmla="*/ 252 h 10000"/>
                <a:gd name="connsiteX4" fmla="*/ 7897 w 10000"/>
                <a:gd name="connsiteY4" fmla="*/ 436 h 10000"/>
                <a:gd name="connsiteX5" fmla="*/ 8135 w 10000"/>
                <a:gd name="connsiteY5" fmla="*/ 619 h 10000"/>
                <a:gd name="connsiteX6" fmla="*/ 8353 w 10000"/>
                <a:gd name="connsiteY6" fmla="*/ 802 h 10000"/>
                <a:gd name="connsiteX7" fmla="*/ 8571 w 10000"/>
                <a:gd name="connsiteY7" fmla="*/ 1003 h 10000"/>
                <a:gd name="connsiteX8" fmla="*/ 8770 w 10000"/>
                <a:gd name="connsiteY8" fmla="*/ 1220 h 10000"/>
                <a:gd name="connsiteX9" fmla="*/ 8948 w 10000"/>
                <a:gd name="connsiteY9" fmla="*/ 1437 h 10000"/>
                <a:gd name="connsiteX10" fmla="*/ 9107 w 10000"/>
                <a:gd name="connsiteY10" fmla="*/ 1654 h 10000"/>
                <a:gd name="connsiteX11" fmla="*/ 9266 w 10000"/>
                <a:gd name="connsiteY11" fmla="*/ 1887 h 10000"/>
                <a:gd name="connsiteX12" fmla="*/ 9405 w 10000"/>
                <a:gd name="connsiteY12" fmla="*/ 2121 h 10000"/>
                <a:gd name="connsiteX13" fmla="*/ 9524 w 10000"/>
                <a:gd name="connsiteY13" fmla="*/ 2355 h 10000"/>
                <a:gd name="connsiteX14" fmla="*/ 9643 w 10000"/>
                <a:gd name="connsiteY14" fmla="*/ 2605 h 10000"/>
                <a:gd name="connsiteX15" fmla="*/ 9742 w 10000"/>
                <a:gd name="connsiteY15" fmla="*/ 2856 h 10000"/>
                <a:gd name="connsiteX16" fmla="*/ 9821 w 10000"/>
                <a:gd name="connsiteY16" fmla="*/ 3106 h 10000"/>
                <a:gd name="connsiteX17" fmla="*/ 9881 w 10000"/>
                <a:gd name="connsiteY17" fmla="*/ 3357 h 10000"/>
                <a:gd name="connsiteX18" fmla="*/ 9940 w 10000"/>
                <a:gd name="connsiteY18" fmla="*/ 3606 h 10000"/>
                <a:gd name="connsiteX19" fmla="*/ 9980 w 10000"/>
                <a:gd name="connsiteY19" fmla="*/ 3874 h 10000"/>
                <a:gd name="connsiteX20" fmla="*/ 10000 w 10000"/>
                <a:gd name="connsiteY20" fmla="*/ 4141 h 10000"/>
                <a:gd name="connsiteX21" fmla="*/ 10000 w 10000"/>
                <a:gd name="connsiteY21" fmla="*/ 4392 h 10000"/>
                <a:gd name="connsiteX22" fmla="*/ 10000 w 10000"/>
                <a:gd name="connsiteY22" fmla="*/ 4658 h 10000"/>
                <a:gd name="connsiteX23" fmla="*/ 9980 w 10000"/>
                <a:gd name="connsiteY23" fmla="*/ 4926 h 10000"/>
                <a:gd name="connsiteX24" fmla="*/ 9940 w 10000"/>
                <a:gd name="connsiteY24" fmla="*/ 5193 h 10000"/>
                <a:gd name="connsiteX25" fmla="*/ 9901 w 10000"/>
                <a:gd name="connsiteY25" fmla="*/ 5459 h 10000"/>
                <a:gd name="connsiteX26" fmla="*/ 9841 w 10000"/>
                <a:gd name="connsiteY26" fmla="*/ 5710 h 10000"/>
                <a:gd name="connsiteX27" fmla="*/ 9762 w 10000"/>
                <a:gd name="connsiteY27" fmla="*/ 5977 h 10000"/>
                <a:gd name="connsiteX28" fmla="*/ 9663 w 10000"/>
                <a:gd name="connsiteY28" fmla="*/ 6227 h 10000"/>
                <a:gd name="connsiteX29" fmla="*/ 9544 w 10000"/>
                <a:gd name="connsiteY29" fmla="*/ 6494 h 10000"/>
                <a:gd name="connsiteX30" fmla="*/ 9425 w 10000"/>
                <a:gd name="connsiteY30" fmla="*/ 6745 h 10000"/>
                <a:gd name="connsiteX31" fmla="*/ 9286 w 10000"/>
                <a:gd name="connsiteY31" fmla="*/ 6995 h 10000"/>
                <a:gd name="connsiteX32" fmla="*/ 9127 w 10000"/>
                <a:gd name="connsiteY32" fmla="*/ 7229 h 10000"/>
                <a:gd name="connsiteX33" fmla="*/ 8948 w 10000"/>
                <a:gd name="connsiteY33" fmla="*/ 7480 h 10000"/>
                <a:gd name="connsiteX34" fmla="*/ 8948 w 10000"/>
                <a:gd name="connsiteY34" fmla="*/ 7480 h 10000"/>
                <a:gd name="connsiteX35" fmla="*/ 8770 w 10000"/>
                <a:gd name="connsiteY35" fmla="*/ 7713 h 10000"/>
                <a:gd name="connsiteX36" fmla="*/ 8571 w 10000"/>
                <a:gd name="connsiteY36" fmla="*/ 7931 h 10000"/>
                <a:gd name="connsiteX37" fmla="*/ 8353 w 10000"/>
                <a:gd name="connsiteY37" fmla="*/ 8147 h 10000"/>
                <a:gd name="connsiteX38" fmla="*/ 8135 w 10000"/>
                <a:gd name="connsiteY38" fmla="*/ 8347 h 10000"/>
                <a:gd name="connsiteX39" fmla="*/ 7917 w 10000"/>
                <a:gd name="connsiteY39" fmla="*/ 8531 h 10000"/>
                <a:gd name="connsiteX40" fmla="*/ 7679 w 10000"/>
                <a:gd name="connsiteY40" fmla="*/ 8715 h 10000"/>
                <a:gd name="connsiteX41" fmla="*/ 7421 w 10000"/>
                <a:gd name="connsiteY41" fmla="*/ 8882 h 10000"/>
                <a:gd name="connsiteX42" fmla="*/ 7163 w 10000"/>
                <a:gd name="connsiteY42" fmla="*/ 9032 h 10000"/>
                <a:gd name="connsiteX43" fmla="*/ 6905 w 10000"/>
                <a:gd name="connsiteY43" fmla="*/ 9182 h 10000"/>
                <a:gd name="connsiteX44" fmla="*/ 6627 w 10000"/>
                <a:gd name="connsiteY44" fmla="*/ 9316 h 10000"/>
                <a:gd name="connsiteX45" fmla="*/ 6349 w 10000"/>
                <a:gd name="connsiteY45" fmla="*/ 9432 h 10000"/>
                <a:gd name="connsiteX46" fmla="*/ 6071 w 10000"/>
                <a:gd name="connsiteY46" fmla="*/ 9549 h 10000"/>
                <a:gd name="connsiteX47" fmla="*/ 5774 w 10000"/>
                <a:gd name="connsiteY47" fmla="*/ 9650 h 10000"/>
                <a:gd name="connsiteX48" fmla="*/ 5496 w 10000"/>
                <a:gd name="connsiteY48" fmla="*/ 9733 h 10000"/>
                <a:gd name="connsiteX49" fmla="*/ 5198 w 10000"/>
                <a:gd name="connsiteY49" fmla="*/ 9800 h 10000"/>
                <a:gd name="connsiteX50" fmla="*/ 4881 w 10000"/>
                <a:gd name="connsiteY50" fmla="*/ 9866 h 10000"/>
                <a:gd name="connsiteX51" fmla="*/ 4583 w 10000"/>
                <a:gd name="connsiteY51" fmla="*/ 9916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6 h 10000"/>
                <a:gd name="connsiteX59" fmla="*/ 2083 w 10000"/>
                <a:gd name="connsiteY59" fmla="*/ 9866 h 10000"/>
                <a:gd name="connsiteX60" fmla="*/ 1786 w 10000"/>
                <a:gd name="connsiteY60" fmla="*/ 9800 h 10000"/>
                <a:gd name="connsiteX61" fmla="*/ 1468 w 10000"/>
                <a:gd name="connsiteY61" fmla="*/ 9733 h 10000"/>
                <a:gd name="connsiteX62" fmla="*/ 1171 w 10000"/>
                <a:gd name="connsiteY62" fmla="*/ 9633 h 10000"/>
                <a:gd name="connsiteX63" fmla="*/ 873 w 10000"/>
                <a:gd name="connsiteY63" fmla="*/ 9533 h 10000"/>
                <a:gd name="connsiteX64" fmla="*/ 575 w 10000"/>
                <a:gd name="connsiteY64" fmla="*/ 9416 h 10000"/>
                <a:gd name="connsiteX65" fmla="*/ 278 w 10000"/>
                <a:gd name="connsiteY65" fmla="*/ 9282 h 10000"/>
                <a:gd name="connsiteX66" fmla="*/ 0 w 10000"/>
                <a:gd name="connsiteY66" fmla="*/ 913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0000" h="10000">
                  <a:moveTo>
                    <a:pt x="0" y="9132"/>
                  </a:moveTo>
                  <a:cubicBezTo>
                    <a:pt x="-59" y="9118"/>
                    <a:pt x="7182" y="-52"/>
                    <a:pt x="7221" y="0"/>
                  </a:cubicBezTo>
                  <a:lnTo>
                    <a:pt x="7401" y="85"/>
                  </a:lnTo>
                  <a:lnTo>
                    <a:pt x="7659" y="252"/>
                  </a:lnTo>
                  <a:lnTo>
                    <a:pt x="7897" y="436"/>
                  </a:lnTo>
                  <a:lnTo>
                    <a:pt x="8135" y="619"/>
                  </a:lnTo>
                  <a:lnTo>
                    <a:pt x="8353" y="802"/>
                  </a:lnTo>
                  <a:lnTo>
                    <a:pt x="8571" y="1003"/>
                  </a:lnTo>
                  <a:lnTo>
                    <a:pt x="8770" y="1220"/>
                  </a:lnTo>
                  <a:lnTo>
                    <a:pt x="8948" y="1437"/>
                  </a:lnTo>
                  <a:lnTo>
                    <a:pt x="9107" y="1654"/>
                  </a:lnTo>
                  <a:lnTo>
                    <a:pt x="9266" y="1887"/>
                  </a:lnTo>
                  <a:cubicBezTo>
                    <a:pt x="9312" y="1965"/>
                    <a:pt x="9359" y="2043"/>
                    <a:pt x="9405" y="2121"/>
                  </a:cubicBezTo>
                  <a:cubicBezTo>
                    <a:pt x="9445" y="2199"/>
                    <a:pt x="9484" y="2277"/>
                    <a:pt x="9524" y="2355"/>
                  </a:cubicBezTo>
                  <a:cubicBezTo>
                    <a:pt x="9564" y="2438"/>
                    <a:pt x="9603" y="2522"/>
                    <a:pt x="9643" y="2605"/>
                  </a:cubicBezTo>
                  <a:cubicBezTo>
                    <a:pt x="9676" y="2689"/>
                    <a:pt x="9709" y="2772"/>
                    <a:pt x="9742" y="2856"/>
                  </a:cubicBezTo>
                  <a:cubicBezTo>
                    <a:pt x="9768" y="2939"/>
                    <a:pt x="9795" y="3023"/>
                    <a:pt x="9821" y="3106"/>
                  </a:cubicBezTo>
                  <a:cubicBezTo>
                    <a:pt x="9841" y="3190"/>
                    <a:pt x="9861" y="3273"/>
                    <a:pt x="9881" y="3357"/>
                  </a:cubicBezTo>
                  <a:cubicBezTo>
                    <a:pt x="9901" y="3440"/>
                    <a:pt x="9920" y="3523"/>
                    <a:pt x="9940" y="3606"/>
                  </a:cubicBezTo>
                  <a:cubicBezTo>
                    <a:pt x="9953" y="3696"/>
                    <a:pt x="9967" y="3785"/>
                    <a:pt x="9980" y="3874"/>
                  </a:cubicBezTo>
                  <a:cubicBezTo>
                    <a:pt x="9987" y="3963"/>
                    <a:pt x="9993" y="4052"/>
                    <a:pt x="10000" y="4141"/>
                  </a:cubicBezTo>
                  <a:lnTo>
                    <a:pt x="10000" y="4392"/>
                  </a:lnTo>
                  <a:lnTo>
                    <a:pt x="10000" y="4658"/>
                  </a:lnTo>
                  <a:cubicBezTo>
                    <a:pt x="9993" y="4748"/>
                    <a:pt x="9987" y="4836"/>
                    <a:pt x="9980" y="4926"/>
                  </a:cubicBezTo>
                  <a:cubicBezTo>
                    <a:pt x="9967" y="5015"/>
                    <a:pt x="9953" y="5104"/>
                    <a:pt x="9940" y="5193"/>
                  </a:cubicBezTo>
                  <a:cubicBezTo>
                    <a:pt x="9927" y="5281"/>
                    <a:pt x="9914" y="5371"/>
                    <a:pt x="9901" y="5459"/>
                  </a:cubicBezTo>
                  <a:cubicBezTo>
                    <a:pt x="9881" y="5543"/>
                    <a:pt x="9861" y="5626"/>
                    <a:pt x="9841" y="5710"/>
                  </a:cubicBezTo>
                  <a:cubicBezTo>
                    <a:pt x="9815" y="5799"/>
                    <a:pt x="9788" y="5888"/>
                    <a:pt x="9762" y="5977"/>
                  </a:cubicBezTo>
                  <a:cubicBezTo>
                    <a:pt x="9729" y="6060"/>
                    <a:pt x="9696" y="6144"/>
                    <a:pt x="9663" y="6227"/>
                  </a:cubicBezTo>
                  <a:cubicBezTo>
                    <a:pt x="9623" y="6316"/>
                    <a:pt x="9584" y="6406"/>
                    <a:pt x="9544" y="6494"/>
                  </a:cubicBezTo>
                  <a:lnTo>
                    <a:pt x="9425" y="6745"/>
                  </a:lnTo>
                  <a:lnTo>
                    <a:pt x="9286" y="6995"/>
                  </a:lnTo>
                  <a:lnTo>
                    <a:pt x="9127" y="7229"/>
                  </a:lnTo>
                  <a:lnTo>
                    <a:pt x="8948" y="7480"/>
                  </a:lnTo>
                  <a:lnTo>
                    <a:pt x="8948" y="7480"/>
                  </a:lnTo>
                  <a:cubicBezTo>
                    <a:pt x="8889" y="7558"/>
                    <a:pt x="8829" y="7635"/>
                    <a:pt x="8770" y="7713"/>
                  </a:cubicBezTo>
                  <a:cubicBezTo>
                    <a:pt x="8704" y="7786"/>
                    <a:pt x="8637" y="7858"/>
                    <a:pt x="8571" y="7931"/>
                  </a:cubicBezTo>
                  <a:lnTo>
                    <a:pt x="8353" y="8147"/>
                  </a:lnTo>
                  <a:lnTo>
                    <a:pt x="8135" y="8347"/>
                  </a:lnTo>
                  <a:lnTo>
                    <a:pt x="7917" y="8531"/>
                  </a:lnTo>
                  <a:lnTo>
                    <a:pt x="7679" y="8715"/>
                  </a:lnTo>
                  <a:lnTo>
                    <a:pt x="7421" y="8882"/>
                  </a:lnTo>
                  <a:lnTo>
                    <a:pt x="7163" y="9032"/>
                  </a:lnTo>
                  <a:lnTo>
                    <a:pt x="6905" y="9182"/>
                  </a:lnTo>
                  <a:lnTo>
                    <a:pt x="6627" y="9316"/>
                  </a:lnTo>
                  <a:lnTo>
                    <a:pt x="6349" y="9432"/>
                  </a:lnTo>
                  <a:lnTo>
                    <a:pt x="6071" y="9549"/>
                  </a:lnTo>
                  <a:lnTo>
                    <a:pt x="5774" y="9650"/>
                  </a:lnTo>
                  <a:lnTo>
                    <a:pt x="5496" y="9733"/>
                  </a:lnTo>
                  <a:lnTo>
                    <a:pt x="5198" y="9800"/>
                  </a:lnTo>
                  <a:lnTo>
                    <a:pt x="4881" y="9866"/>
                  </a:lnTo>
                  <a:lnTo>
                    <a:pt x="4583" y="9916"/>
                  </a:lnTo>
                  <a:lnTo>
                    <a:pt x="4266" y="9950"/>
                  </a:lnTo>
                  <a:lnTo>
                    <a:pt x="3968" y="9983"/>
                  </a:lnTo>
                  <a:lnTo>
                    <a:pt x="3651" y="10000"/>
                  </a:lnTo>
                  <a:lnTo>
                    <a:pt x="3333" y="10000"/>
                  </a:lnTo>
                  <a:lnTo>
                    <a:pt x="3036" y="9983"/>
                  </a:lnTo>
                  <a:lnTo>
                    <a:pt x="2718" y="9950"/>
                  </a:lnTo>
                  <a:lnTo>
                    <a:pt x="2401" y="9916"/>
                  </a:lnTo>
                  <a:lnTo>
                    <a:pt x="2083" y="9866"/>
                  </a:lnTo>
                  <a:lnTo>
                    <a:pt x="1786" y="9800"/>
                  </a:lnTo>
                  <a:lnTo>
                    <a:pt x="1468" y="9733"/>
                  </a:lnTo>
                  <a:lnTo>
                    <a:pt x="1171" y="9633"/>
                  </a:lnTo>
                  <a:lnTo>
                    <a:pt x="873" y="9533"/>
                  </a:lnTo>
                  <a:lnTo>
                    <a:pt x="575" y="9416"/>
                  </a:lnTo>
                  <a:lnTo>
                    <a:pt x="278" y="9282"/>
                  </a:lnTo>
                  <a:lnTo>
                    <a:pt x="0" y="913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sp>
        <p:nvSpPr>
          <p:cNvPr id="113" name="Obdélník 17"/>
          <p:cNvSpPr/>
          <p:nvPr userDrawn="1"/>
        </p:nvSpPr>
        <p:spPr>
          <a:xfrm>
            <a:off x="-1" y="-11954"/>
            <a:ext cx="4998513" cy="6883653"/>
          </a:xfrm>
          <a:custGeom>
            <a:avLst/>
            <a:gdLst>
              <a:gd name="connsiteX0" fmla="*/ 0 w 4262593"/>
              <a:gd name="connsiteY0" fmla="*/ 0 h 5152466"/>
              <a:gd name="connsiteX1" fmla="*/ 4262593 w 4262593"/>
              <a:gd name="connsiteY1" fmla="*/ 0 h 5152466"/>
              <a:gd name="connsiteX2" fmla="*/ 4262593 w 4262593"/>
              <a:gd name="connsiteY2" fmla="*/ 5152466 h 5152466"/>
              <a:gd name="connsiteX3" fmla="*/ 0 w 4262593"/>
              <a:gd name="connsiteY3" fmla="*/ 5152466 h 5152466"/>
              <a:gd name="connsiteX4" fmla="*/ 0 w 4262593"/>
              <a:gd name="connsiteY4" fmla="*/ 0 h 5152466"/>
              <a:gd name="connsiteX0" fmla="*/ 0 w 4262593"/>
              <a:gd name="connsiteY0" fmla="*/ 0 h 5152466"/>
              <a:gd name="connsiteX1" fmla="*/ 337865 w 4262593"/>
              <a:gd name="connsiteY1" fmla="*/ 30822 h 5152466"/>
              <a:gd name="connsiteX2" fmla="*/ 4262593 w 4262593"/>
              <a:gd name="connsiteY2" fmla="*/ 5152466 h 5152466"/>
              <a:gd name="connsiteX3" fmla="*/ 0 w 4262593"/>
              <a:gd name="connsiteY3" fmla="*/ 5152466 h 5152466"/>
              <a:gd name="connsiteX4" fmla="*/ 0 w 4262593"/>
              <a:gd name="connsiteY4" fmla="*/ 0 h 5152466"/>
              <a:gd name="connsiteX0" fmla="*/ 0 w 3163258"/>
              <a:gd name="connsiteY0" fmla="*/ 0 h 5152466"/>
              <a:gd name="connsiteX1" fmla="*/ 337865 w 3163258"/>
              <a:gd name="connsiteY1" fmla="*/ 30822 h 5152466"/>
              <a:gd name="connsiteX2" fmla="*/ 3163258 w 3163258"/>
              <a:gd name="connsiteY2" fmla="*/ 5029176 h 5152466"/>
              <a:gd name="connsiteX3" fmla="*/ 0 w 3163258"/>
              <a:gd name="connsiteY3" fmla="*/ 5152466 h 5152466"/>
              <a:gd name="connsiteX4" fmla="*/ 0 w 3163258"/>
              <a:gd name="connsiteY4" fmla="*/ 0 h 5152466"/>
              <a:gd name="connsiteX0" fmla="*/ 0 w 3748885"/>
              <a:gd name="connsiteY0" fmla="*/ 0 h 5162740"/>
              <a:gd name="connsiteX1" fmla="*/ 337865 w 3748885"/>
              <a:gd name="connsiteY1" fmla="*/ 30822 h 5162740"/>
              <a:gd name="connsiteX2" fmla="*/ 3748885 w 3748885"/>
              <a:gd name="connsiteY2" fmla="*/ 5162740 h 5162740"/>
              <a:gd name="connsiteX3" fmla="*/ 0 w 3748885"/>
              <a:gd name="connsiteY3" fmla="*/ 5152466 h 5162740"/>
              <a:gd name="connsiteX4" fmla="*/ 0 w 3748885"/>
              <a:gd name="connsiteY4" fmla="*/ 0 h 5162740"/>
              <a:gd name="connsiteX0" fmla="*/ 0 w 3748885"/>
              <a:gd name="connsiteY0" fmla="*/ 0 h 5162740"/>
              <a:gd name="connsiteX1" fmla="*/ 430332 w 3748885"/>
              <a:gd name="connsiteY1" fmla="*/ 10274 h 5162740"/>
              <a:gd name="connsiteX2" fmla="*/ 3748885 w 3748885"/>
              <a:gd name="connsiteY2" fmla="*/ 5162740 h 5162740"/>
              <a:gd name="connsiteX3" fmla="*/ 0 w 3748885"/>
              <a:gd name="connsiteY3" fmla="*/ 5152466 h 5162740"/>
              <a:gd name="connsiteX4" fmla="*/ 0 w 3748885"/>
              <a:gd name="connsiteY4" fmla="*/ 0 h 5162740"/>
              <a:gd name="connsiteX0" fmla="*/ 0 w 3748885"/>
              <a:gd name="connsiteY0" fmla="*/ 0 h 5162740"/>
              <a:gd name="connsiteX1" fmla="*/ 450804 w 3748885"/>
              <a:gd name="connsiteY1" fmla="*/ 6862 h 5162740"/>
              <a:gd name="connsiteX2" fmla="*/ 3748885 w 3748885"/>
              <a:gd name="connsiteY2" fmla="*/ 5162740 h 5162740"/>
              <a:gd name="connsiteX3" fmla="*/ 0 w 3748885"/>
              <a:gd name="connsiteY3" fmla="*/ 5152466 h 5162740"/>
              <a:gd name="connsiteX4" fmla="*/ 0 w 3748885"/>
              <a:gd name="connsiteY4" fmla="*/ 0 h 5162740"/>
              <a:gd name="connsiteX0" fmla="*/ 0 w 3748885"/>
              <a:gd name="connsiteY0" fmla="*/ 0 h 5162740"/>
              <a:gd name="connsiteX1" fmla="*/ 447392 w 3748885"/>
              <a:gd name="connsiteY1" fmla="*/ 3450 h 5162740"/>
              <a:gd name="connsiteX2" fmla="*/ 3748885 w 3748885"/>
              <a:gd name="connsiteY2" fmla="*/ 5162740 h 5162740"/>
              <a:gd name="connsiteX3" fmla="*/ 0 w 3748885"/>
              <a:gd name="connsiteY3" fmla="*/ 5152466 h 5162740"/>
              <a:gd name="connsiteX4" fmla="*/ 0 w 3748885"/>
              <a:gd name="connsiteY4" fmla="*/ 0 h 5162740"/>
              <a:gd name="connsiteX0" fmla="*/ 0 w 3748885"/>
              <a:gd name="connsiteY0" fmla="*/ 0 h 5162740"/>
              <a:gd name="connsiteX1" fmla="*/ 447392 w 3748885"/>
              <a:gd name="connsiteY1" fmla="*/ 3450 h 5162740"/>
              <a:gd name="connsiteX2" fmla="*/ 3748885 w 3748885"/>
              <a:gd name="connsiteY2" fmla="*/ 5162740 h 5162740"/>
              <a:gd name="connsiteX3" fmla="*/ 0 w 3748885"/>
              <a:gd name="connsiteY3" fmla="*/ 5152466 h 5162740"/>
              <a:gd name="connsiteX4" fmla="*/ 0 w 3748885"/>
              <a:gd name="connsiteY4" fmla="*/ 0 h 5162740"/>
              <a:gd name="connsiteX0" fmla="*/ 0 w 3748885"/>
              <a:gd name="connsiteY0" fmla="*/ 0 h 5162740"/>
              <a:gd name="connsiteX1" fmla="*/ 450804 w 3748885"/>
              <a:gd name="connsiteY1" fmla="*/ 38 h 5162740"/>
              <a:gd name="connsiteX2" fmla="*/ 3748885 w 3748885"/>
              <a:gd name="connsiteY2" fmla="*/ 5162740 h 5162740"/>
              <a:gd name="connsiteX3" fmla="*/ 0 w 3748885"/>
              <a:gd name="connsiteY3" fmla="*/ 5152466 h 5162740"/>
              <a:gd name="connsiteX4" fmla="*/ 0 w 3748885"/>
              <a:gd name="connsiteY4" fmla="*/ 0 h 5162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8885" h="5162740">
                <a:moveTo>
                  <a:pt x="0" y="0"/>
                </a:moveTo>
                <a:lnTo>
                  <a:pt x="450804" y="38"/>
                </a:lnTo>
                <a:lnTo>
                  <a:pt x="3748885" y="5162740"/>
                </a:lnTo>
                <a:lnTo>
                  <a:pt x="0" y="5152466"/>
                </a:lnTo>
                <a:lnTo>
                  <a:pt x="0" y="0"/>
                </a:lnTo>
                <a:close/>
              </a:path>
            </a:pathLst>
          </a:custGeom>
          <a:solidFill>
            <a:srgbClr val="58595B"/>
          </a:solidFill>
          <a:ln w="25400" cap="flat" cmpd="sng" algn="ctr">
            <a:noFill/>
            <a:prstDash val="solid"/>
          </a:ln>
          <a:effectLst/>
        </p:spPr>
        <p:txBody>
          <a:bodyPr lIns="92879" tIns="46439" rIns="92879" bIns="46439" rtlCol="0" anchor="ctr"/>
          <a:lstStyle/>
          <a:p>
            <a:pPr marL="0" marR="0" lvl="0" indent="0" algn="ctr" defTabSz="13802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Freeform 62"/>
          <p:cNvSpPr>
            <a:spLocks noChangeAspect="1"/>
          </p:cNvSpPr>
          <p:nvPr userDrawn="1"/>
        </p:nvSpPr>
        <p:spPr bwMode="ltGray">
          <a:xfrm flipH="1">
            <a:off x="1640893" y="2575169"/>
            <a:ext cx="2158360" cy="2650569"/>
          </a:xfrm>
          <a:custGeom>
            <a:avLst/>
            <a:gdLst>
              <a:gd name="T0" fmla="*/ 718 w 1008"/>
              <a:gd name="T1" fmla="*/ 0 h 1206"/>
              <a:gd name="T2" fmla="*/ 772 w 1008"/>
              <a:gd name="T3" fmla="*/ 38 h 1206"/>
              <a:gd name="T4" fmla="*/ 820 w 1008"/>
              <a:gd name="T5" fmla="*/ 82 h 1206"/>
              <a:gd name="T6" fmla="*/ 864 w 1008"/>
              <a:gd name="T7" fmla="*/ 128 h 1206"/>
              <a:gd name="T8" fmla="*/ 902 w 1008"/>
              <a:gd name="T9" fmla="*/ 180 h 1206"/>
              <a:gd name="T10" fmla="*/ 934 w 1008"/>
              <a:gd name="T11" fmla="*/ 234 h 1206"/>
              <a:gd name="T12" fmla="*/ 960 w 1008"/>
              <a:gd name="T13" fmla="*/ 290 h 1206"/>
              <a:gd name="T14" fmla="*/ 982 w 1008"/>
              <a:gd name="T15" fmla="*/ 350 h 1206"/>
              <a:gd name="T16" fmla="*/ 996 w 1008"/>
              <a:gd name="T17" fmla="*/ 410 h 1206"/>
              <a:gd name="T18" fmla="*/ 1006 w 1008"/>
              <a:gd name="T19" fmla="*/ 472 h 1206"/>
              <a:gd name="T20" fmla="*/ 1008 w 1008"/>
              <a:gd name="T21" fmla="*/ 534 h 1206"/>
              <a:gd name="T22" fmla="*/ 1006 w 1008"/>
              <a:gd name="T23" fmla="*/ 598 h 1206"/>
              <a:gd name="T24" fmla="*/ 998 w 1008"/>
              <a:gd name="T25" fmla="*/ 662 h 1206"/>
              <a:gd name="T26" fmla="*/ 984 w 1008"/>
              <a:gd name="T27" fmla="*/ 724 h 1206"/>
              <a:gd name="T28" fmla="*/ 962 w 1008"/>
              <a:gd name="T29" fmla="*/ 786 h 1206"/>
              <a:gd name="T30" fmla="*/ 936 w 1008"/>
              <a:gd name="T31" fmla="*/ 846 h 1206"/>
              <a:gd name="T32" fmla="*/ 902 w 1008"/>
              <a:gd name="T33" fmla="*/ 904 h 1206"/>
              <a:gd name="T34" fmla="*/ 884 w 1008"/>
              <a:gd name="T35" fmla="*/ 932 h 1206"/>
              <a:gd name="T36" fmla="*/ 842 w 1008"/>
              <a:gd name="T37" fmla="*/ 984 h 1206"/>
              <a:gd name="T38" fmla="*/ 798 w 1008"/>
              <a:gd name="T39" fmla="*/ 1030 h 1206"/>
              <a:gd name="T40" fmla="*/ 748 w 1008"/>
              <a:gd name="T41" fmla="*/ 1072 h 1206"/>
              <a:gd name="T42" fmla="*/ 696 w 1008"/>
              <a:gd name="T43" fmla="*/ 1108 h 1206"/>
              <a:gd name="T44" fmla="*/ 640 w 1008"/>
              <a:gd name="T45" fmla="*/ 1138 h 1206"/>
              <a:gd name="T46" fmla="*/ 582 w 1008"/>
              <a:gd name="T47" fmla="*/ 1164 h 1206"/>
              <a:gd name="T48" fmla="*/ 524 w 1008"/>
              <a:gd name="T49" fmla="*/ 1182 h 1206"/>
              <a:gd name="T50" fmla="*/ 462 w 1008"/>
              <a:gd name="T51" fmla="*/ 1196 h 1206"/>
              <a:gd name="T52" fmla="*/ 400 w 1008"/>
              <a:gd name="T53" fmla="*/ 1204 h 1206"/>
              <a:gd name="T54" fmla="*/ 336 w 1008"/>
              <a:gd name="T55" fmla="*/ 1206 h 1206"/>
              <a:gd name="T56" fmla="*/ 274 w 1008"/>
              <a:gd name="T57" fmla="*/ 1200 h 1206"/>
              <a:gd name="T58" fmla="*/ 210 w 1008"/>
              <a:gd name="T59" fmla="*/ 1190 h 1206"/>
              <a:gd name="T60" fmla="*/ 148 w 1008"/>
              <a:gd name="T61" fmla="*/ 1174 h 1206"/>
              <a:gd name="T62" fmla="*/ 88 w 1008"/>
              <a:gd name="T63" fmla="*/ 1150 h 1206"/>
              <a:gd name="T64" fmla="*/ 28 w 1008"/>
              <a:gd name="T65" fmla="*/ 1120 h 1206"/>
              <a:gd name="T66" fmla="*/ 718 w 1008"/>
              <a:gd name="T67" fmla="*/ 0 h 1206"/>
              <a:gd name="connsiteX0" fmla="*/ 7240 w 10000"/>
              <a:gd name="connsiteY0" fmla="*/ 65 h 10000"/>
              <a:gd name="connsiteX1" fmla="*/ 7123 w 10000"/>
              <a:gd name="connsiteY1" fmla="*/ 0 h 10000"/>
              <a:gd name="connsiteX2" fmla="*/ 7401 w 10000"/>
              <a:gd name="connsiteY2" fmla="*/ 149 h 10000"/>
              <a:gd name="connsiteX3" fmla="*/ 7659 w 10000"/>
              <a:gd name="connsiteY3" fmla="*/ 315 h 10000"/>
              <a:gd name="connsiteX4" fmla="*/ 7897 w 10000"/>
              <a:gd name="connsiteY4" fmla="*/ 498 h 10000"/>
              <a:gd name="connsiteX5" fmla="*/ 8135 w 10000"/>
              <a:gd name="connsiteY5" fmla="*/ 680 h 10000"/>
              <a:gd name="connsiteX6" fmla="*/ 8353 w 10000"/>
              <a:gd name="connsiteY6" fmla="*/ 862 h 10000"/>
              <a:gd name="connsiteX7" fmla="*/ 8571 w 10000"/>
              <a:gd name="connsiteY7" fmla="*/ 1061 h 10000"/>
              <a:gd name="connsiteX8" fmla="*/ 8770 w 10000"/>
              <a:gd name="connsiteY8" fmla="*/ 1277 h 10000"/>
              <a:gd name="connsiteX9" fmla="*/ 8948 w 10000"/>
              <a:gd name="connsiteY9" fmla="*/ 1493 h 10000"/>
              <a:gd name="connsiteX10" fmla="*/ 9107 w 10000"/>
              <a:gd name="connsiteY10" fmla="*/ 1708 h 10000"/>
              <a:gd name="connsiteX11" fmla="*/ 9266 w 10000"/>
              <a:gd name="connsiteY11" fmla="*/ 1940 h 10000"/>
              <a:gd name="connsiteX12" fmla="*/ 9405 w 10000"/>
              <a:gd name="connsiteY12" fmla="*/ 2172 h 10000"/>
              <a:gd name="connsiteX13" fmla="*/ 9524 w 10000"/>
              <a:gd name="connsiteY13" fmla="*/ 2405 h 10000"/>
              <a:gd name="connsiteX14" fmla="*/ 9643 w 10000"/>
              <a:gd name="connsiteY14" fmla="*/ 2653 h 10000"/>
              <a:gd name="connsiteX15" fmla="*/ 9742 w 10000"/>
              <a:gd name="connsiteY15" fmla="*/ 2902 h 10000"/>
              <a:gd name="connsiteX16" fmla="*/ 9821 w 10000"/>
              <a:gd name="connsiteY16" fmla="*/ 3151 h 10000"/>
              <a:gd name="connsiteX17" fmla="*/ 9881 w 10000"/>
              <a:gd name="connsiteY17" fmla="*/ 3400 h 10000"/>
              <a:gd name="connsiteX18" fmla="*/ 9940 w 10000"/>
              <a:gd name="connsiteY18" fmla="*/ 3648 h 10000"/>
              <a:gd name="connsiteX19" fmla="*/ 9980 w 10000"/>
              <a:gd name="connsiteY19" fmla="*/ 3914 h 10000"/>
              <a:gd name="connsiteX20" fmla="*/ 10000 w 10000"/>
              <a:gd name="connsiteY20" fmla="*/ 4179 h 10000"/>
              <a:gd name="connsiteX21" fmla="*/ 10000 w 10000"/>
              <a:gd name="connsiteY21" fmla="*/ 4428 h 10000"/>
              <a:gd name="connsiteX22" fmla="*/ 10000 w 10000"/>
              <a:gd name="connsiteY22" fmla="*/ 4693 h 10000"/>
              <a:gd name="connsiteX23" fmla="*/ 9980 w 10000"/>
              <a:gd name="connsiteY23" fmla="*/ 4959 h 10000"/>
              <a:gd name="connsiteX24" fmla="*/ 9940 w 10000"/>
              <a:gd name="connsiteY24" fmla="*/ 5224 h 10000"/>
              <a:gd name="connsiteX25" fmla="*/ 9901 w 10000"/>
              <a:gd name="connsiteY25" fmla="*/ 5489 h 10000"/>
              <a:gd name="connsiteX26" fmla="*/ 9841 w 10000"/>
              <a:gd name="connsiteY26" fmla="*/ 5738 h 10000"/>
              <a:gd name="connsiteX27" fmla="*/ 9762 w 10000"/>
              <a:gd name="connsiteY27" fmla="*/ 6003 h 10000"/>
              <a:gd name="connsiteX28" fmla="*/ 9663 w 10000"/>
              <a:gd name="connsiteY28" fmla="*/ 6252 h 10000"/>
              <a:gd name="connsiteX29" fmla="*/ 9544 w 10000"/>
              <a:gd name="connsiteY29" fmla="*/ 6517 h 10000"/>
              <a:gd name="connsiteX30" fmla="*/ 9425 w 10000"/>
              <a:gd name="connsiteY30" fmla="*/ 6766 h 10000"/>
              <a:gd name="connsiteX31" fmla="*/ 9286 w 10000"/>
              <a:gd name="connsiteY31" fmla="*/ 7015 h 10000"/>
              <a:gd name="connsiteX32" fmla="*/ 9127 w 10000"/>
              <a:gd name="connsiteY32" fmla="*/ 7247 h 10000"/>
              <a:gd name="connsiteX33" fmla="*/ 8948 w 10000"/>
              <a:gd name="connsiteY33" fmla="*/ 7496 h 10000"/>
              <a:gd name="connsiteX34" fmla="*/ 8948 w 10000"/>
              <a:gd name="connsiteY34" fmla="*/ 7496 h 10000"/>
              <a:gd name="connsiteX35" fmla="*/ 8770 w 10000"/>
              <a:gd name="connsiteY35" fmla="*/ 7728 h 10000"/>
              <a:gd name="connsiteX36" fmla="*/ 8571 w 10000"/>
              <a:gd name="connsiteY36" fmla="*/ 7944 h 10000"/>
              <a:gd name="connsiteX37" fmla="*/ 8353 w 10000"/>
              <a:gd name="connsiteY37" fmla="*/ 8159 h 10000"/>
              <a:gd name="connsiteX38" fmla="*/ 8135 w 10000"/>
              <a:gd name="connsiteY38" fmla="*/ 8358 h 10000"/>
              <a:gd name="connsiteX39" fmla="*/ 7917 w 10000"/>
              <a:gd name="connsiteY39" fmla="*/ 8541 h 10000"/>
              <a:gd name="connsiteX40" fmla="*/ 7679 w 10000"/>
              <a:gd name="connsiteY40" fmla="*/ 8723 h 10000"/>
              <a:gd name="connsiteX41" fmla="*/ 7421 w 10000"/>
              <a:gd name="connsiteY41" fmla="*/ 8889 h 10000"/>
              <a:gd name="connsiteX42" fmla="*/ 7163 w 10000"/>
              <a:gd name="connsiteY42" fmla="*/ 9038 h 10000"/>
              <a:gd name="connsiteX43" fmla="*/ 6905 w 10000"/>
              <a:gd name="connsiteY43" fmla="*/ 9187 h 10000"/>
              <a:gd name="connsiteX44" fmla="*/ 6627 w 10000"/>
              <a:gd name="connsiteY44" fmla="*/ 9320 h 10000"/>
              <a:gd name="connsiteX45" fmla="*/ 6349 w 10000"/>
              <a:gd name="connsiteY45" fmla="*/ 9436 h 10000"/>
              <a:gd name="connsiteX46" fmla="*/ 6071 w 10000"/>
              <a:gd name="connsiteY46" fmla="*/ 9552 h 10000"/>
              <a:gd name="connsiteX47" fmla="*/ 5774 w 10000"/>
              <a:gd name="connsiteY47" fmla="*/ 9652 h 10000"/>
              <a:gd name="connsiteX48" fmla="*/ 5496 w 10000"/>
              <a:gd name="connsiteY48" fmla="*/ 9735 h 10000"/>
              <a:gd name="connsiteX49" fmla="*/ 5198 w 10000"/>
              <a:gd name="connsiteY49" fmla="*/ 9801 h 10000"/>
              <a:gd name="connsiteX50" fmla="*/ 4881 w 10000"/>
              <a:gd name="connsiteY50" fmla="*/ 9867 h 10000"/>
              <a:gd name="connsiteX51" fmla="*/ 4583 w 10000"/>
              <a:gd name="connsiteY51" fmla="*/ 9917 h 10000"/>
              <a:gd name="connsiteX52" fmla="*/ 4266 w 10000"/>
              <a:gd name="connsiteY52" fmla="*/ 9950 h 10000"/>
              <a:gd name="connsiteX53" fmla="*/ 3968 w 10000"/>
              <a:gd name="connsiteY53" fmla="*/ 9983 h 10000"/>
              <a:gd name="connsiteX54" fmla="*/ 3651 w 10000"/>
              <a:gd name="connsiteY54" fmla="*/ 10000 h 10000"/>
              <a:gd name="connsiteX55" fmla="*/ 3333 w 10000"/>
              <a:gd name="connsiteY55" fmla="*/ 10000 h 10000"/>
              <a:gd name="connsiteX56" fmla="*/ 3036 w 10000"/>
              <a:gd name="connsiteY56" fmla="*/ 9983 h 10000"/>
              <a:gd name="connsiteX57" fmla="*/ 2718 w 10000"/>
              <a:gd name="connsiteY57" fmla="*/ 9950 h 10000"/>
              <a:gd name="connsiteX58" fmla="*/ 2401 w 10000"/>
              <a:gd name="connsiteY58" fmla="*/ 9917 h 10000"/>
              <a:gd name="connsiteX59" fmla="*/ 2083 w 10000"/>
              <a:gd name="connsiteY59" fmla="*/ 9867 h 10000"/>
              <a:gd name="connsiteX60" fmla="*/ 1786 w 10000"/>
              <a:gd name="connsiteY60" fmla="*/ 9801 h 10000"/>
              <a:gd name="connsiteX61" fmla="*/ 1468 w 10000"/>
              <a:gd name="connsiteY61" fmla="*/ 9735 h 10000"/>
              <a:gd name="connsiteX62" fmla="*/ 1171 w 10000"/>
              <a:gd name="connsiteY62" fmla="*/ 9635 h 10000"/>
              <a:gd name="connsiteX63" fmla="*/ 873 w 10000"/>
              <a:gd name="connsiteY63" fmla="*/ 9536 h 10000"/>
              <a:gd name="connsiteX64" fmla="*/ 575 w 10000"/>
              <a:gd name="connsiteY64" fmla="*/ 9420 h 10000"/>
              <a:gd name="connsiteX65" fmla="*/ 278 w 10000"/>
              <a:gd name="connsiteY65" fmla="*/ 9287 h 10000"/>
              <a:gd name="connsiteX66" fmla="*/ 0 w 10000"/>
              <a:gd name="connsiteY66" fmla="*/ 9138 h 10000"/>
              <a:gd name="connsiteX67" fmla="*/ 7240 w 10000"/>
              <a:gd name="connsiteY67" fmla="*/ 65 h 10000"/>
              <a:gd name="connsiteX0" fmla="*/ 6927 w 10000"/>
              <a:gd name="connsiteY0" fmla="*/ 98 h 10000"/>
              <a:gd name="connsiteX1" fmla="*/ 7123 w 10000"/>
              <a:gd name="connsiteY1" fmla="*/ 0 h 10000"/>
              <a:gd name="connsiteX2" fmla="*/ 7401 w 10000"/>
              <a:gd name="connsiteY2" fmla="*/ 149 h 10000"/>
              <a:gd name="connsiteX3" fmla="*/ 7659 w 10000"/>
              <a:gd name="connsiteY3" fmla="*/ 315 h 10000"/>
              <a:gd name="connsiteX4" fmla="*/ 7897 w 10000"/>
              <a:gd name="connsiteY4" fmla="*/ 498 h 10000"/>
              <a:gd name="connsiteX5" fmla="*/ 8135 w 10000"/>
              <a:gd name="connsiteY5" fmla="*/ 680 h 10000"/>
              <a:gd name="connsiteX6" fmla="*/ 8353 w 10000"/>
              <a:gd name="connsiteY6" fmla="*/ 862 h 10000"/>
              <a:gd name="connsiteX7" fmla="*/ 8571 w 10000"/>
              <a:gd name="connsiteY7" fmla="*/ 1061 h 10000"/>
              <a:gd name="connsiteX8" fmla="*/ 8770 w 10000"/>
              <a:gd name="connsiteY8" fmla="*/ 1277 h 10000"/>
              <a:gd name="connsiteX9" fmla="*/ 8948 w 10000"/>
              <a:gd name="connsiteY9" fmla="*/ 1493 h 10000"/>
              <a:gd name="connsiteX10" fmla="*/ 9107 w 10000"/>
              <a:gd name="connsiteY10" fmla="*/ 1708 h 10000"/>
              <a:gd name="connsiteX11" fmla="*/ 9266 w 10000"/>
              <a:gd name="connsiteY11" fmla="*/ 1940 h 10000"/>
              <a:gd name="connsiteX12" fmla="*/ 9405 w 10000"/>
              <a:gd name="connsiteY12" fmla="*/ 2172 h 10000"/>
              <a:gd name="connsiteX13" fmla="*/ 9524 w 10000"/>
              <a:gd name="connsiteY13" fmla="*/ 2405 h 10000"/>
              <a:gd name="connsiteX14" fmla="*/ 9643 w 10000"/>
              <a:gd name="connsiteY14" fmla="*/ 2653 h 10000"/>
              <a:gd name="connsiteX15" fmla="*/ 9742 w 10000"/>
              <a:gd name="connsiteY15" fmla="*/ 2902 h 10000"/>
              <a:gd name="connsiteX16" fmla="*/ 9821 w 10000"/>
              <a:gd name="connsiteY16" fmla="*/ 3151 h 10000"/>
              <a:gd name="connsiteX17" fmla="*/ 9881 w 10000"/>
              <a:gd name="connsiteY17" fmla="*/ 3400 h 10000"/>
              <a:gd name="connsiteX18" fmla="*/ 9940 w 10000"/>
              <a:gd name="connsiteY18" fmla="*/ 3648 h 10000"/>
              <a:gd name="connsiteX19" fmla="*/ 9980 w 10000"/>
              <a:gd name="connsiteY19" fmla="*/ 3914 h 10000"/>
              <a:gd name="connsiteX20" fmla="*/ 10000 w 10000"/>
              <a:gd name="connsiteY20" fmla="*/ 4179 h 10000"/>
              <a:gd name="connsiteX21" fmla="*/ 10000 w 10000"/>
              <a:gd name="connsiteY21" fmla="*/ 4428 h 10000"/>
              <a:gd name="connsiteX22" fmla="*/ 10000 w 10000"/>
              <a:gd name="connsiteY22" fmla="*/ 4693 h 10000"/>
              <a:gd name="connsiteX23" fmla="*/ 9980 w 10000"/>
              <a:gd name="connsiteY23" fmla="*/ 4959 h 10000"/>
              <a:gd name="connsiteX24" fmla="*/ 9940 w 10000"/>
              <a:gd name="connsiteY24" fmla="*/ 5224 h 10000"/>
              <a:gd name="connsiteX25" fmla="*/ 9901 w 10000"/>
              <a:gd name="connsiteY25" fmla="*/ 5489 h 10000"/>
              <a:gd name="connsiteX26" fmla="*/ 9841 w 10000"/>
              <a:gd name="connsiteY26" fmla="*/ 5738 h 10000"/>
              <a:gd name="connsiteX27" fmla="*/ 9762 w 10000"/>
              <a:gd name="connsiteY27" fmla="*/ 6003 h 10000"/>
              <a:gd name="connsiteX28" fmla="*/ 9663 w 10000"/>
              <a:gd name="connsiteY28" fmla="*/ 6252 h 10000"/>
              <a:gd name="connsiteX29" fmla="*/ 9544 w 10000"/>
              <a:gd name="connsiteY29" fmla="*/ 6517 h 10000"/>
              <a:gd name="connsiteX30" fmla="*/ 9425 w 10000"/>
              <a:gd name="connsiteY30" fmla="*/ 6766 h 10000"/>
              <a:gd name="connsiteX31" fmla="*/ 9286 w 10000"/>
              <a:gd name="connsiteY31" fmla="*/ 7015 h 10000"/>
              <a:gd name="connsiteX32" fmla="*/ 9127 w 10000"/>
              <a:gd name="connsiteY32" fmla="*/ 7247 h 10000"/>
              <a:gd name="connsiteX33" fmla="*/ 8948 w 10000"/>
              <a:gd name="connsiteY33" fmla="*/ 7496 h 10000"/>
              <a:gd name="connsiteX34" fmla="*/ 8948 w 10000"/>
              <a:gd name="connsiteY34" fmla="*/ 7496 h 10000"/>
              <a:gd name="connsiteX35" fmla="*/ 8770 w 10000"/>
              <a:gd name="connsiteY35" fmla="*/ 7728 h 10000"/>
              <a:gd name="connsiteX36" fmla="*/ 8571 w 10000"/>
              <a:gd name="connsiteY36" fmla="*/ 7944 h 10000"/>
              <a:gd name="connsiteX37" fmla="*/ 8353 w 10000"/>
              <a:gd name="connsiteY37" fmla="*/ 8159 h 10000"/>
              <a:gd name="connsiteX38" fmla="*/ 8135 w 10000"/>
              <a:gd name="connsiteY38" fmla="*/ 8358 h 10000"/>
              <a:gd name="connsiteX39" fmla="*/ 7917 w 10000"/>
              <a:gd name="connsiteY39" fmla="*/ 8541 h 10000"/>
              <a:gd name="connsiteX40" fmla="*/ 7679 w 10000"/>
              <a:gd name="connsiteY40" fmla="*/ 8723 h 10000"/>
              <a:gd name="connsiteX41" fmla="*/ 7421 w 10000"/>
              <a:gd name="connsiteY41" fmla="*/ 8889 h 10000"/>
              <a:gd name="connsiteX42" fmla="*/ 7163 w 10000"/>
              <a:gd name="connsiteY42" fmla="*/ 9038 h 10000"/>
              <a:gd name="connsiteX43" fmla="*/ 6905 w 10000"/>
              <a:gd name="connsiteY43" fmla="*/ 9187 h 10000"/>
              <a:gd name="connsiteX44" fmla="*/ 6627 w 10000"/>
              <a:gd name="connsiteY44" fmla="*/ 9320 h 10000"/>
              <a:gd name="connsiteX45" fmla="*/ 6349 w 10000"/>
              <a:gd name="connsiteY45" fmla="*/ 9436 h 10000"/>
              <a:gd name="connsiteX46" fmla="*/ 6071 w 10000"/>
              <a:gd name="connsiteY46" fmla="*/ 9552 h 10000"/>
              <a:gd name="connsiteX47" fmla="*/ 5774 w 10000"/>
              <a:gd name="connsiteY47" fmla="*/ 9652 h 10000"/>
              <a:gd name="connsiteX48" fmla="*/ 5496 w 10000"/>
              <a:gd name="connsiteY48" fmla="*/ 9735 h 10000"/>
              <a:gd name="connsiteX49" fmla="*/ 5198 w 10000"/>
              <a:gd name="connsiteY49" fmla="*/ 9801 h 10000"/>
              <a:gd name="connsiteX50" fmla="*/ 4881 w 10000"/>
              <a:gd name="connsiteY50" fmla="*/ 9867 h 10000"/>
              <a:gd name="connsiteX51" fmla="*/ 4583 w 10000"/>
              <a:gd name="connsiteY51" fmla="*/ 9917 h 10000"/>
              <a:gd name="connsiteX52" fmla="*/ 4266 w 10000"/>
              <a:gd name="connsiteY52" fmla="*/ 9950 h 10000"/>
              <a:gd name="connsiteX53" fmla="*/ 3968 w 10000"/>
              <a:gd name="connsiteY53" fmla="*/ 9983 h 10000"/>
              <a:gd name="connsiteX54" fmla="*/ 3651 w 10000"/>
              <a:gd name="connsiteY54" fmla="*/ 10000 h 10000"/>
              <a:gd name="connsiteX55" fmla="*/ 3333 w 10000"/>
              <a:gd name="connsiteY55" fmla="*/ 10000 h 10000"/>
              <a:gd name="connsiteX56" fmla="*/ 3036 w 10000"/>
              <a:gd name="connsiteY56" fmla="*/ 9983 h 10000"/>
              <a:gd name="connsiteX57" fmla="*/ 2718 w 10000"/>
              <a:gd name="connsiteY57" fmla="*/ 9950 h 10000"/>
              <a:gd name="connsiteX58" fmla="*/ 2401 w 10000"/>
              <a:gd name="connsiteY58" fmla="*/ 9917 h 10000"/>
              <a:gd name="connsiteX59" fmla="*/ 2083 w 10000"/>
              <a:gd name="connsiteY59" fmla="*/ 9867 h 10000"/>
              <a:gd name="connsiteX60" fmla="*/ 1786 w 10000"/>
              <a:gd name="connsiteY60" fmla="*/ 9801 h 10000"/>
              <a:gd name="connsiteX61" fmla="*/ 1468 w 10000"/>
              <a:gd name="connsiteY61" fmla="*/ 9735 h 10000"/>
              <a:gd name="connsiteX62" fmla="*/ 1171 w 10000"/>
              <a:gd name="connsiteY62" fmla="*/ 9635 h 10000"/>
              <a:gd name="connsiteX63" fmla="*/ 873 w 10000"/>
              <a:gd name="connsiteY63" fmla="*/ 9536 h 10000"/>
              <a:gd name="connsiteX64" fmla="*/ 575 w 10000"/>
              <a:gd name="connsiteY64" fmla="*/ 9420 h 10000"/>
              <a:gd name="connsiteX65" fmla="*/ 278 w 10000"/>
              <a:gd name="connsiteY65" fmla="*/ 9287 h 10000"/>
              <a:gd name="connsiteX66" fmla="*/ 0 w 10000"/>
              <a:gd name="connsiteY66" fmla="*/ 9138 h 10000"/>
              <a:gd name="connsiteX67" fmla="*/ 6927 w 10000"/>
              <a:gd name="connsiteY67" fmla="*/ 98 h 10000"/>
              <a:gd name="connsiteX0" fmla="*/ 0 w 10000"/>
              <a:gd name="connsiteY0" fmla="*/ 9138 h 10000"/>
              <a:gd name="connsiteX1" fmla="*/ 7123 w 10000"/>
              <a:gd name="connsiteY1" fmla="*/ 0 h 10000"/>
              <a:gd name="connsiteX2" fmla="*/ 7401 w 10000"/>
              <a:gd name="connsiteY2" fmla="*/ 149 h 10000"/>
              <a:gd name="connsiteX3" fmla="*/ 7659 w 10000"/>
              <a:gd name="connsiteY3" fmla="*/ 315 h 10000"/>
              <a:gd name="connsiteX4" fmla="*/ 7897 w 10000"/>
              <a:gd name="connsiteY4" fmla="*/ 498 h 10000"/>
              <a:gd name="connsiteX5" fmla="*/ 8135 w 10000"/>
              <a:gd name="connsiteY5" fmla="*/ 680 h 10000"/>
              <a:gd name="connsiteX6" fmla="*/ 8353 w 10000"/>
              <a:gd name="connsiteY6" fmla="*/ 862 h 10000"/>
              <a:gd name="connsiteX7" fmla="*/ 8571 w 10000"/>
              <a:gd name="connsiteY7" fmla="*/ 1061 h 10000"/>
              <a:gd name="connsiteX8" fmla="*/ 8770 w 10000"/>
              <a:gd name="connsiteY8" fmla="*/ 1277 h 10000"/>
              <a:gd name="connsiteX9" fmla="*/ 8948 w 10000"/>
              <a:gd name="connsiteY9" fmla="*/ 1493 h 10000"/>
              <a:gd name="connsiteX10" fmla="*/ 9107 w 10000"/>
              <a:gd name="connsiteY10" fmla="*/ 1708 h 10000"/>
              <a:gd name="connsiteX11" fmla="*/ 9266 w 10000"/>
              <a:gd name="connsiteY11" fmla="*/ 1940 h 10000"/>
              <a:gd name="connsiteX12" fmla="*/ 9405 w 10000"/>
              <a:gd name="connsiteY12" fmla="*/ 2172 h 10000"/>
              <a:gd name="connsiteX13" fmla="*/ 9524 w 10000"/>
              <a:gd name="connsiteY13" fmla="*/ 2405 h 10000"/>
              <a:gd name="connsiteX14" fmla="*/ 9643 w 10000"/>
              <a:gd name="connsiteY14" fmla="*/ 2653 h 10000"/>
              <a:gd name="connsiteX15" fmla="*/ 9742 w 10000"/>
              <a:gd name="connsiteY15" fmla="*/ 2902 h 10000"/>
              <a:gd name="connsiteX16" fmla="*/ 9821 w 10000"/>
              <a:gd name="connsiteY16" fmla="*/ 3151 h 10000"/>
              <a:gd name="connsiteX17" fmla="*/ 9881 w 10000"/>
              <a:gd name="connsiteY17" fmla="*/ 3400 h 10000"/>
              <a:gd name="connsiteX18" fmla="*/ 9940 w 10000"/>
              <a:gd name="connsiteY18" fmla="*/ 3648 h 10000"/>
              <a:gd name="connsiteX19" fmla="*/ 9980 w 10000"/>
              <a:gd name="connsiteY19" fmla="*/ 3914 h 10000"/>
              <a:gd name="connsiteX20" fmla="*/ 10000 w 10000"/>
              <a:gd name="connsiteY20" fmla="*/ 4179 h 10000"/>
              <a:gd name="connsiteX21" fmla="*/ 10000 w 10000"/>
              <a:gd name="connsiteY21" fmla="*/ 4428 h 10000"/>
              <a:gd name="connsiteX22" fmla="*/ 10000 w 10000"/>
              <a:gd name="connsiteY22" fmla="*/ 4693 h 10000"/>
              <a:gd name="connsiteX23" fmla="*/ 9980 w 10000"/>
              <a:gd name="connsiteY23" fmla="*/ 4959 h 10000"/>
              <a:gd name="connsiteX24" fmla="*/ 9940 w 10000"/>
              <a:gd name="connsiteY24" fmla="*/ 5224 h 10000"/>
              <a:gd name="connsiteX25" fmla="*/ 9901 w 10000"/>
              <a:gd name="connsiteY25" fmla="*/ 5489 h 10000"/>
              <a:gd name="connsiteX26" fmla="*/ 9841 w 10000"/>
              <a:gd name="connsiteY26" fmla="*/ 5738 h 10000"/>
              <a:gd name="connsiteX27" fmla="*/ 9762 w 10000"/>
              <a:gd name="connsiteY27" fmla="*/ 6003 h 10000"/>
              <a:gd name="connsiteX28" fmla="*/ 9663 w 10000"/>
              <a:gd name="connsiteY28" fmla="*/ 6252 h 10000"/>
              <a:gd name="connsiteX29" fmla="*/ 9544 w 10000"/>
              <a:gd name="connsiteY29" fmla="*/ 6517 h 10000"/>
              <a:gd name="connsiteX30" fmla="*/ 9425 w 10000"/>
              <a:gd name="connsiteY30" fmla="*/ 6766 h 10000"/>
              <a:gd name="connsiteX31" fmla="*/ 9286 w 10000"/>
              <a:gd name="connsiteY31" fmla="*/ 7015 h 10000"/>
              <a:gd name="connsiteX32" fmla="*/ 9127 w 10000"/>
              <a:gd name="connsiteY32" fmla="*/ 7247 h 10000"/>
              <a:gd name="connsiteX33" fmla="*/ 8948 w 10000"/>
              <a:gd name="connsiteY33" fmla="*/ 7496 h 10000"/>
              <a:gd name="connsiteX34" fmla="*/ 8948 w 10000"/>
              <a:gd name="connsiteY34" fmla="*/ 7496 h 10000"/>
              <a:gd name="connsiteX35" fmla="*/ 8770 w 10000"/>
              <a:gd name="connsiteY35" fmla="*/ 7728 h 10000"/>
              <a:gd name="connsiteX36" fmla="*/ 8571 w 10000"/>
              <a:gd name="connsiteY36" fmla="*/ 7944 h 10000"/>
              <a:gd name="connsiteX37" fmla="*/ 8353 w 10000"/>
              <a:gd name="connsiteY37" fmla="*/ 8159 h 10000"/>
              <a:gd name="connsiteX38" fmla="*/ 8135 w 10000"/>
              <a:gd name="connsiteY38" fmla="*/ 8358 h 10000"/>
              <a:gd name="connsiteX39" fmla="*/ 7917 w 10000"/>
              <a:gd name="connsiteY39" fmla="*/ 8541 h 10000"/>
              <a:gd name="connsiteX40" fmla="*/ 7679 w 10000"/>
              <a:gd name="connsiteY40" fmla="*/ 8723 h 10000"/>
              <a:gd name="connsiteX41" fmla="*/ 7421 w 10000"/>
              <a:gd name="connsiteY41" fmla="*/ 8889 h 10000"/>
              <a:gd name="connsiteX42" fmla="*/ 7163 w 10000"/>
              <a:gd name="connsiteY42" fmla="*/ 9038 h 10000"/>
              <a:gd name="connsiteX43" fmla="*/ 6905 w 10000"/>
              <a:gd name="connsiteY43" fmla="*/ 9187 h 10000"/>
              <a:gd name="connsiteX44" fmla="*/ 6627 w 10000"/>
              <a:gd name="connsiteY44" fmla="*/ 9320 h 10000"/>
              <a:gd name="connsiteX45" fmla="*/ 6349 w 10000"/>
              <a:gd name="connsiteY45" fmla="*/ 9436 h 10000"/>
              <a:gd name="connsiteX46" fmla="*/ 6071 w 10000"/>
              <a:gd name="connsiteY46" fmla="*/ 9552 h 10000"/>
              <a:gd name="connsiteX47" fmla="*/ 5774 w 10000"/>
              <a:gd name="connsiteY47" fmla="*/ 9652 h 10000"/>
              <a:gd name="connsiteX48" fmla="*/ 5496 w 10000"/>
              <a:gd name="connsiteY48" fmla="*/ 9735 h 10000"/>
              <a:gd name="connsiteX49" fmla="*/ 5198 w 10000"/>
              <a:gd name="connsiteY49" fmla="*/ 9801 h 10000"/>
              <a:gd name="connsiteX50" fmla="*/ 4881 w 10000"/>
              <a:gd name="connsiteY50" fmla="*/ 9867 h 10000"/>
              <a:gd name="connsiteX51" fmla="*/ 4583 w 10000"/>
              <a:gd name="connsiteY51" fmla="*/ 9917 h 10000"/>
              <a:gd name="connsiteX52" fmla="*/ 4266 w 10000"/>
              <a:gd name="connsiteY52" fmla="*/ 9950 h 10000"/>
              <a:gd name="connsiteX53" fmla="*/ 3968 w 10000"/>
              <a:gd name="connsiteY53" fmla="*/ 9983 h 10000"/>
              <a:gd name="connsiteX54" fmla="*/ 3651 w 10000"/>
              <a:gd name="connsiteY54" fmla="*/ 10000 h 10000"/>
              <a:gd name="connsiteX55" fmla="*/ 3333 w 10000"/>
              <a:gd name="connsiteY55" fmla="*/ 10000 h 10000"/>
              <a:gd name="connsiteX56" fmla="*/ 3036 w 10000"/>
              <a:gd name="connsiteY56" fmla="*/ 9983 h 10000"/>
              <a:gd name="connsiteX57" fmla="*/ 2718 w 10000"/>
              <a:gd name="connsiteY57" fmla="*/ 9950 h 10000"/>
              <a:gd name="connsiteX58" fmla="*/ 2401 w 10000"/>
              <a:gd name="connsiteY58" fmla="*/ 9917 h 10000"/>
              <a:gd name="connsiteX59" fmla="*/ 2083 w 10000"/>
              <a:gd name="connsiteY59" fmla="*/ 9867 h 10000"/>
              <a:gd name="connsiteX60" fmla="*/ 1786 w 10000"/>
              <a:gd name="connsiteY60" fmla="*/ 9801 h 10000"/>
              <a:gd name="connsiteX61" fmla="*/ 1468 w 10000"/>
              <a:gd name="connsiteY61" fmla="*/ 9735 h 10000"/>
              <a:gd name="connsiteX62" fmla="*/ 1171 w 10000"/>
              <a:gd name="connsiteY62" fmla="*/ 9635 h 10000"/>
              <a:gd name="connsiteX63" fmla="*/ 873 w 10000"/>
              <a:gd name="connsiteY63" fmla="*/ 9536 h 10000"/>
              <a:gd name="connsiteX64" fmla="*/ 575 w 10000"/>
              <a:gd name="connsiteY64" fmla="*/ 9420 h 10000"/>
              <a:gd name="connsiteX65" fmla="*/ 278 w 10000"/>
              <a:gd name="connsiteY65" fmla="*/ 9287 h 10000"/>
              <a:gd name="connsiteX66" fmla="*/ 0 w 10000"/>
              <a:gd name="connsiteY66" fmla="*/ 9138 h 10000"/>
              <a:gd name="connsiteX0" fmla="*/ 0 w 10000"/>
              <a:gd name="connsiteY0" fmla="*/ 9073 h 9935"/>
              <a:gd name="connsiteX1" fmla="*/ 7221 w 10000"/>
              <a:gd name="connsiteY1" fmla="*/ 0 h 9935"/>
              <a:gd name="connsiteX2" fmla="*/ 7401 w 10000"/>
              <a:gd name="connsiteY2" fmla="*/ 84 h 9935"/>
              <a:gd name="connsiteX3" fmla="*/ 7659 w 10000"/>
              <a:gd name="connsiteY3" fmla="*/ 250 h 9935"/>
              <a:gd name="connsiteX4" fmla="*/ 7897 w 10000"/>
              <a:gd name="connsiteY4" fmla="*/ 433 h 9935"/>
              <a:gd name="connsiteX5" fmla="*/ 8135 w 10000"/>
              <a:gd name="connsiteY5" fmla="*/ 615 h 9935"/>
              <a:gd name="connsiteX6" fmla="*/ 8353 w 10000"/>
              <a:gd name="connsiteY6" fmla="*/ 797 h 9935"/>
              <a:gd name="connsiteX7" fmla="*/ 8571 w 10000"/>
              <a:gd name="connsiteY7" fmla="*/ 996 h 9935"/>
              <a:gd name="connsiteX8" fmla="*/ 8770 w 10000"/>
              <a:gd name="connsiteY8" fmla="*/ 1212 h 9935"/>
              <a:gd name="connsiteX9" fmla="*/ 8948 w 10000"/>
              <a:gd name="connsiteY9" fmla="*/ 1428 h 9935"/>
              <a:gd name="connsiteX10" fmla="*/ 9107 w 10000"/>
              <a:gd name="connsiteY10" fmla="*/ 1643 h 9935"/>
              <a:gd name="connsiteX11" fmla="*/ 9266 w 10000"/>
              <a:gd name="connsiteY11" fmla="*/ 1875 h 9935"/>
              <a:gd name="connsiteX12" fmla="*/ 9405 w 10000"/>
              <a:gd name="connsiteY12" fmla="*/ 2107 h 9935"/>
              <a:gd name="connsiteX13" fmla="*/ 9524 w 10000"/>
              <a:gd name="connsiteY13" fmla="*/ 2340 h 9935"/>
              <a:gd name="connsiteX14" fmla="*/ 9643 w 10000"/>
              <a:gd name="connsiteY14" fmla="*/ 2588 h 9935"/>
              <a:gd name="connsiteX15" fmla="*/ 9742 w 10000"/>
              <a:gd name="connsiteY15" fmla="*/ 2837 h 9935"/>
              <a:gd name="connsiteX16" fmla="*/ 9821 w 10000"/>
              <a:gd name="connsiteY16" fmla="*/ 3086 h 9935"/>
              <a:gd name="connsiteX17" fmla="*/ 9881 w 10000"/>
              <a:gd name="connsiteY17" fmla="*/ 3335 h 9935"/>
              <a:gd name="connsiteX18" fmla="*/ 9940 w 10000"/>
              <a:gd name="connsiteY18" fmla="*/ 3583 h 9935"/>
              <a:gd name="connsiteX19" fmla="*/ 9980 w 10000"/>
              <a:gd name="connsiteY19" fmla="*/ 3849 h 9935"/>
              <a:gd name="connsiteX20" fmla="*/ 10000 w 10000"/>
              <a:gd name="connsiteY20" fmla="*/ 4114 h 9935"/>
              <a:gd name="connsiteX21" fmla="*/ 10000 w 10000"/>
              <a:gd name="connsiteY21" fmla="*/ 4363 h 9935"/>
              <a:gd name="connsiteX22" fmla="*/ 10000 w 10000"/>
              <a:gd name="connsiteY22" fmla="*/ 4628 h 9935"/>
              <a:gd name="connsiteX23" fmla="*/ 9980 w 10000"/>
              <a:gd name="connsiteY23" fmla="*/ 4894 h 9935"/>
              <a:gd name="connsiteX24" fmla="*/ 9940 w 10000"/>
              <a:gd name="connsiteY24" fmla="*/ 5159 h 9935"/>
              <a:gd name="connsiteX25" fmla="*/ 9901 w 10000"/>
              <a:gd name="connsiteY25" fmla="*/ 5424 h 9935"/>
              <a:gd name="connsiteX26" fmla="*/ 9841 w 10000"/>
              <a:gd name="connsiteY26" fmla="*/ 5673 h 9935"/>
              <a:gd name="connsiteX27" fmla="*/ 9762 w 10000"/>
              <a:gd name="connsiteY27" fmla="*/ 5938 h 9935"/>
              <a:gd name="connsiteX28" fmla="*/ 9663 w 10000"/>
              <a:gd name="connsiteY28" fmla="*/ 6187 h 9935"/>
              <a:gd name="connsiteX29" fmla="*/ 9544 w 10000"/>
              <a:gd name="connsiteY29" fmla="*/ 6452 h 9935"/>
              <a:gd name="connsiteX30" fmla="*/ 9425 w 10000"/>
              <a:gd name="connsiteY30" fmla="*/ 6701 h 9935"/>
              <a:gd name="connsiteX31" fmla="*/ 9286 w 10000"/>
              <a:gd name="connsiteY31" fmla="*/ 6950 h 9935"/>
              <a:gd name="connsiteX32" fmla="*/ 9127 w 10000"/>
              <a:gd name="connsiteY32" fmla="*/ 7182 h 9935"/>
              <a:gd name="connsiteX33" fmla="*/ 8948 w 10000"/>
              <a:gd name="connsiteY33" fmla="*/ 7431 h 9935"/>
              <a:gd name="connsiteX34" fmla="*/ 8948 w 10000"/>
              <a:gd name="connsiteY34" fmla="*/ 7431 h 9935"/>
              <a:gd name="connsiteX35" fmla="*/ 8770 w 10000"/>
              <a:gd name="connsiteY35" fmla="*/ 7663 h 9935"/>
              <a:gd name="connsiteX36" fmla="*/ 8571 w 10000"/>
              <a:gd name="connsiteY36" fmla="*/ 7879 h 9935"/>
              <a:gd name="connsiteX37" fmla="*/ 8353 w 10000"/>
              <a:gd name="connsiteY37" fmla="*/ 8094 h 9935"/>
              <a:gd name="connsiteX38" fmla="*/ 8135 w 10000"/>
              <a:gd name="connsiteY38" fmla="*/ 8293 h 9935"/>
              <a:gd name="connsiteX39" fmla="*/ 7917 w 10000"/>
              <a:gd name="connsiteY39" fmla="*/ 8476 h 9935"/>
              <a:gd name="connsiteX40" fmla="*/ 7679 w 10000"/>
              <a:gd name="connsiteY40" fmla="*/ 8658 h 9935"/>
              <a:gd name="connsiteX41" fmla="*/ 7421 w 10000"/>
              <a:gd name="connsiteY41" fmla="*/ 8824 h 9935"/>
              <a:gd name="connsiteX42" fmla="*/ 7163 w 10000"/>
              <a:gd name="connsiteY42" fmla="*/ 8973 h 9935"/>
              <a:gd name="connsiteX43" fmla="*/ 6905 w 10000"/>
              <a:gd name="connsiteY43" fmla="*/ 9122 h 9935"/>
              <a:gd name="connsiteX44" fmla="*/ 6627 w 10000"/>
              <a:gd name="connsiteY44" fmla="*/ 9255 h 9935"/>
              <a:gd name="connsiteX45" fmla="*/ 6349 w 10000"/>
              <a:gd name="connsiteY45" fmla="*/ 9371 h 9935"/>
              <a:gd name="connsiteX46" fmla="*/ 6071 w 10000"/>
              <a:gd name="connsiteY46" fmla="*/ 9487 h 9935"/>
              <a:gd name="connsiteX47" fmla="*/ 5774 w 10000"/>
              <a:gd name="connsiteY47" fmla="*/ 9587 h 9935"/>
              <a:gd name="connsiteX48" fmla="*/ 5496 w 10000"/>
              <a:gd name="connsiteY48" fmla="*/ 9670 h 9935"/>
              <a:gd name="connsiteX49" fmla="*/ 5198 w 10000"/>
              <a:gd name="connsiteY49" fmla="*/ 9736 h 9935"/>
              <a:gd name="connsiteX50" fmla="*/ 4881 w 10000"/>
              <a:gd name="connsiteY50" fmla="*/ 9802 h 9935"/>
              <a:gd name="connsiteX51" fmla="*/ 4583 w 10000"/>
              <a:gd name="connsiteY51" fmla="*/ 9852 h 9935"/>
              <a:gd name="connsiteX52" fmla="*/ 4266 w 10000"/>
              <a:gd name="connsiteY52" fmla="*/ 9885 h 9935"/>
              <a:gd name="connsiteX53" fmla="*/ 3968 w 10000"/>
              <a:gd name="connsiteY53" fmla="*/ 9918 h 9935"/>
              <a:gd name="connsiteX54" fmla="*/ 3651 w 10000"/>
              <a:gd name="connsiteY54" fmla="*/ 9935 h 9935"/>
              <a:gd name="connsiteX55" fmla="*/ 3333 w 10000"/>
              <a:gd name="connsiteY55" fmla="*/ 9935 h 9935"/>
              <a:gd name="connsiteX56" fmla="*/ 3036 w 10000"/>
              <a:gd name="connsiteY56" fmla="*/ 9918 h 9935"/>
              <a:gd name="connsiteX57" fmla="*/ 2718 w 10000"/>
              <a:gd name="connsiteY57" fmla="*/ 9885 h 9935"/>
              <a:gd name="connsiteX58" fmla="*/ 2401 w 10000"/>
              <a:gd name="connsiteY58" fmla="*/ 9852 h 9935"/>
              <a:gd name="connsiteX59" fmla="*/ 2083 w 10000"/>
              <a:gd name="connsiteY59" fmla="*/ 9802 h 9935"/>
              <a:gd name="connsiteX60" fmla="*/ 1786 w 10000"/>
              <a:gd name="connsiteY60" fmla="*/ 9736 h 9935"/>
              <a:gd name="connsiteX61" fmla="*/ 1468 w 10000"/>
              <a:gd name="connsiteY61" fmla="*/ 9670 h 9935"/>
              <a:gd name="connsiteX62" fmla="*/ 1171 w 10000"/>
              <a:gd name="connsiteY62" fmla="*/ 9570 h 9935"/>
              <a:gd name="connsiteX63" fmla="*/ 873 w 10000"/>
              <a:gd name="connsiteY63" fmla="*/ 9471 h 9935"/>
              <a:gd name="connsiteX64" fmla="*/ 575 w 10000"/>
              <a:gd name="connsiteY64" fmla="*/ 9355 h 9935"/>
              <a:gd name="connsiteX65" fmla="*/ 278 w 10000"/>
              <a:gd name="connsiteY65" fmla="*/ 9222 h 9935"/>
              <a:gd name="connsiteX66" fmla="*/ 0 w 10000"/>
              <a:gd name="connsiteY66" fmla="*/ 9073 h 9935"/>
              <a:gd name="connsiteX0" fmla="*/ 0 w 10000"/>
              <a:gd name="connsiteY0" fmla="*/ 9132 h 10000"/>
              <a:gd name="connsiteX1" fmla="*/ 7221 w 10000"/>
              <a:gd name="connsiteY1" fmla="*/ 0 h 10000"/>
              <a:gd name="connsiteX2" fmla="*/ 7401 w 10000"/>
              <a:gd name="connsiteY2" fmla="*/ 85 h 10000"/>
              <a:gd name="connsiteX3" fmla="*/ 7659 w 10000"/>
              <a:gd name="connsiteY3" fmla="*/ 252 h 10000"/>
              <a:gd name="connsiteX4" fmla="*/ 7897 w 10000"/>
              <a:gd name="connsiteY4" fmla="*/ 436 h 10000"/>
              <a:gd name="connsiteX5" fmla="*/ 8135 w 10000"/>
              <a:gd name="connsiteY5" fmla="*/ 619 h 10000"/>
              <a:gd name="connsiteX6" fmla="*/ 8353 w 10000"/>
              <a:gd name="connsiteY6" fmla="*/ 802 h 10000"/>
              <a:gd name="connsiteX7" fmla="*/ 8571 w 10000"/>
              <a:gd name="connsiteY7" fmla="*/ 1003 h 10000"/>
              <a:gd name="connsiteX8" fmla="*/ 8770 w 10000"/>
              <a:gd name="connsiteY8" fmla="*/ 1220 h 10000"/>
              <a:gd name="connsiteX9" fmla="*/ 8948 w 10000"/>
              <a:gd name="connsiteY9" fmla="*/ 1437 h 10000"/>
              <a:gd name="connsiteX10" fmla="*/ 9107 w 10000"/>
              <a:gd name="connsiteY10" fmla="*/ 1654 h 10000"/>
              <a:gd name="connsiteX11" fmla="*/ 9266 w 10000"/>
              <a:gd name="connsiteY11" fmla="*/ 1887 h 10000"/>
              <a:gd name="connsiteX12" fmla="*/ 9405 w 10000"/>
              <a:gd name="connsiteY12" fmla="*/ 2121 h 10000"/>
              <a:gd name="connsiteX13" fmla="*/ 9524 w 10000"/>
              <a:gd name="connsiteY13" fmla="*/ 2355 h 10000"/>
              <a:gd name="connsiteX14" fmla="*/ 9643 w 10000"/>
              <a:gd name="connsiteY14" fmla="*/ 2605 h 10000"/>
              <a:gd name="connsiteX15" fmla="*/ 9742 w 10000"/>
              <a:gd name="connsiteY15" fmla="*/ 2856 h 10000"/>
              <a:gd name="connsiteX16" fmla="*/ 9821 w 10000"/>
              <a:gd name="connsiteY16" fmla="*/ 3106 h 10000"/>
              <a:gd name="connsiteX17" fmla="*/ 9881 w 10000"/>
              <a:gd name="connsiteY17" fmla="*/ 3357 h 10000"/>
              <a:gd name="connsiteX18" fmla="*/ 9940 w 10000"/>
              <a:gd name="connsiteY18" fmla="*/ 3606 h 10000"/>
              <a:gd name="connsiteX19" fmla="*/ 9980 w 10000"/>
              <a:gd name="connsiteY19" fmla="*/ 3874 h 10000"/>
              <a:gd name="connsiteX20" fmla="*/ 10000 w 10000"/>
              <a:gd name="connsiteY20" fmla="*/ 4141 h 10000"/>
              <a:gd name="connsiteX21" fmla="*/ 10000 w 10000"/>
              <a:gd name="connsiteY21" fmla="*/ 4392 h 10000"/>
              <a:gd name="connsiteX22" fmla="*/ 10000 w 10000"/>
              <a:gd name="connsiteY22" fmla="*/ 4658 h 10000"/>
              <a:gd name="connsiteX23" fmla="*/ 9980 w 10000"/>
              <a:gd name="connsiteY23" fmla="*/ 4926 h 10000"/>
              <a:gd name="connsiteX24" fmla="*/ 9940 w 10000"/>
              <a:gd name="connsiteY24" fmla="*/ 5193 h 10000"/>
              <a:gd name="connsiteX25" fmla="*/ 9901 w 10000"/>
              <a:gd name="connsiteY25" fmla="*/ 5459 h 10000"/>
              <a:gd name="connsiteX26" fmla="*/ 9841 w 10000"/>
              <a:gd name="connsiteY26" fmla="*/ 5710 h 10000"/>
              <a:gd name="connsiteX27" fmla="*/ 9762 w 10000"/>
              <a:gd name="connsiteY27" fmla="*/ 5977 h 10000"/>
              <a:gd name="connsiteX28" fmla="*/ 9663 w 10000"/>
              <a:gd name="connsiteY28" fmla="*/ 6227 h 10000"/>
              <a:gd name="connsiteX29" fmla="*/ 9544 w 10000"/>
              <a:gd name="connsiteY29" fmla="*/ 6494 h 10000"/>
              <a:gd name="connsiteX30" fmla="*/ 9425 w 10000"/>
              <a:gd name="connsiteY30" fmla="*/ 6745 h 10000"/>
              <a:gd name="connsiteX31" fmla="*/ 9286 w 10000"/>
              <a:gd name="connsiteY31" fmla="*/ 6995 h 10000"/>
              <a:gd name="connsiteX32" fmla="*/ 9127 w 10000"/>
              <a:gd name="connsiteY32" fmla="*/ 7229 h 10000"/>
              <a:gd name="connsiteX33" fmla="*/ 8948 w 10000"/>
              <a:gd name="connsiteY33" fmla="*/ 7480 h 10000"/>
              <a:gd name="connsiteX34" fmla="*/ 8948 w 10000"/>
              <a:gd name="connsiteY34" fmla="*/ 7480 h 10000"/>
              <a:gd name="connsiteX35" fmla="*/ 8770 w 10000"/>
              <a:gd name="connsiteY35" fmla="*/ 7713 h 10000"/>
              <a:gd name="connsiteX36" fmla="*/ 8571 w 10000"/>
              <a:gd name="connsiteY36" fmla="*/ 7931 h 10000"/>
              <a:gd name="connsiteX37" fmla="*/ 8353 w 10000"/>
              <a:gd name="connsiteY37" fmla="*/ 8147 h 10000"/>
              <a:gd name="connsiteX38" fmla="*/ 8135 w 10000"/>
              <a:gd name="connsiteY38" fmla="*/ 8347 h 10000"/>
              <a:gd name="connsiteX39" fmla="*/ 7917 w 10000"/>
              <a:gd name="connsiteY39" fmla="*/ 8531 h 10000"/>
              <a:gd name="connsiteX40" fmla="*/ 7679 w 10000"/>
              <a:gd name="connsiteY40" fmla="*/ 8715 h 10000"/>
              <a:gd name="connsiteX41" fmla="*/ 7421 w 10000"/>
              <a:gd name="connsiteY41" fmla="*/ 8882 h 10000"/>
              <a:gd name="connsiteX42" fmla="*/ 7163 w 10000"/>
              <a:gd name="connsiteY42" fmla="*/ 9032 h 10000"/>
              <a:gd name="connsiteX43" fmla="*/ 6905 w 10000"/>
              <a:gd name="connsiteY43" fmla="*/ 9182 h 10000"/>
              <a:gd name="connsiteX44" fmla="*/ 6627 w 10000"/>
              <a:gd name="connsiteY44" fmla="*/ 9316 h 10000"/>
              <a:gd name="connsiteX45" fmla="*/ 6349 w 10000"/>
              <a:gd name="connsiteY45" fmla="*/ 9432 h 10000"/>
              <a:gd name="connsiteX46" fmla="*/ 6071 w 10000"/>
              <a:gd name="connsiteY46" fmla="*/ 9549 h 10000"/>
              <a:gd name="connsiteX47" fmla="*/ 5774 w 10000"/>
              <a:gd name="connsiteY47" fmla="*/ 9650 h 10000"/>
              <a:gd name="connsiteX48" fmla="*/ 5496 w 10000"/>
              <a:gd name="connsiteY48" fmla="*/ 9733 h 10000"/>
              <a:gd name="connsiteX49" fmla="*/ 5198 w 10000"/>
              <a:gd name="connsiteY49" fmla="*/ 9800 h 10000"/>
              <a:gd name="connsiteX50" fmla="*/ 4881 w 10000"/>
              <a:gd name="connsiteY50" fmla="*/ 9866 h 10000"/>
              <a:gd name="connsiteX51" fmla="*/ 4583 w 10000"/>
              <a:gd name="connsiteY51" fmla="*/ 9916 h 10000"/>
              <a:gd name="connsiteX52" fmla="*/ 4266 w 10000"/>
              <a:gd name="connsiteY52" fmla="*/ 9950 h 10000"/>
              <a:gd name="connsiteX53" fmla="*/ 3968 w 10000"/>
              <a:gd name="connsiteY53" fmla="*/ 9983 h 10000"/>
              <a:gd name="connsiteX54" fmla="*/ 3651 w 10000"/>
              <a:gd name="connsiteY54" fmla="*/ 10000 h 10000"/>
              <a:gd name="connsiteX55" fmla="*/ 3333 w 10000"/>
              <a:gd name="connsiteY55" fmla="*/ 10000 h 10000"/>
              <a:gd name="connsiteX56" fmla="*/ 3036 w 10000"/>
              <a:gd name="connsiteY56" fmla="*/ 9983 h 10000"/>
              <a:gd name="connsiteX57" fmla="*/ 2718 w 10000"/>
              <a:gd name="connsiteY57" fmla="*/ 9950 h 10000"/>
              <a:gd name="connsiteX58" fmla="*/ 2401 w 10000"/>
              <a:gd name="connsiteY58" fmla="*/ 9916 h 10000"/>
              <a:gd name="connsiteX59" fmla="*/ 2083 w 10000"/>
              <a:gd name="connsiteY59" fmla="*/ 9866 h 10000"/>
              <a:gd name="connsiteX60" fmla="*/ 1786 w 10000"/>
              <a:gd name="connsiteY60" fmla="*/ 9800 h 10000"/>
              <a:gd name="connsiteX61" fmla="*/ 1468 w 10000"/>
              <a:gd name="connsiteY61" fmla="*/ 9733 h 10000"/>
              <a:gd name="connsiteX62" fmla="*/ 1171 w 10000"/>
              <a:gd name="connsiteY62" fmla="*/ 9633 h 10000"/>
              <a:gd name="connsiteX63" fmla="*/ 873 w 10000"/>
              <a:gd name="connsiteY63" fmla="*/ 9533 h 10000"/>
              <a:gd name="connsiteX64" fmla="*/ 575 w 10000"/>
              <a:gd name="connsiteY64" fmla="*/ 9416 h 10000"/>
              <a:gd name="connsiteX65" fmla="*/ 278 w 10000"/>
              <a:gd name="connsiteY65" fmla="*/ 9282 h 10000"/>
              <a:gd name="connsiteX66" fmla="*/ 0 w 10000"/>
              <a:gd name="connsiteY66" fmla="*/ 9132 h 10000"/>
              <a:gd name="connsiteX0" fmla="*/ 0 w 10000"/>
              <a:gd name="connsiteY0" fmla="*/ 9132 h 10000"/>
              <a:gd name="connsiteX1" fmla="*/ 7221 w 10000"/>
              <a:gd name="connsiteY1" fmla="*/ 0 h 10000"/>
              <a:gd name="connsiteX2" fmla="*/ 7401 w 10000"/>
              <a:gd name="connsiteY2" fmla="*/ 85 h 10000"/>
              <a:gd name="connsiteX3" fmla="*/ 7659 w 10000"/>
              <a:gd name="connsiteY3" fmla="*/ 252 h 10000"/>
              <a:gd name="connsiteX4" fmla="*/ 7897 w 10000"/>
              <a:gd name="connsiteY4" fmla="*/ 436 h 10000"/>
              <a:gd name="connsiteX5" fmla="*/ 8135 w 10000"/>
              <a:gd name="connsiteY5" fmla="*/ 619 h 10000"/>
              <a:gd name="connsiteX6" fmla="*/ 8353 w 10000"/>
              <a:gd name="connsiteY6" fmla="*/ 802 h 10000"/>
              <a:gd name="connsiteX7" fmla="*/ 8571 w 10000"/>
              <a:gd name="connsiteY7" fmla="*/ 1003 h 10000"/>
              <a:gd name="connsiteX8" fmla="*/ 8770 w 10000"/>
              <a:gd name="connsiteY8" fmla="*/ 1220 h 10000"/>
              <a:gd name="connsiteX9" fmla="*/ 8948 w 10000"/>
              <a:gd name="connsiteY9" fmla="*/ 1437 h 10000"/>
              <a:gd name="connsiteX10" fmla="*/ 9107 w 10000"/>
              <a:gd name="connsiteY10" fmla="*/ 1654 h 10000"/>
              <a:gd name="connsiteX11" fmla="*/ 9266 w 10000"/>
              <a:gd name="connsiteY11" fmla="*/ 1887 h 10000"/>
              <a:gd name="connsiteX12" fmla="*/ 9405 w 10000"/>
              <a:gd name="connsiteY12" fmla="*/ 2121 h 10000"/>
              <a:gd name="connsiteX13" fmla="*/ 9524 w 10000"/>
              <a:gd name="connsiteY13" fmla="*/ 2355 h 10000"/>
              <a:gd name="connsiteX14" fmla="*/ 9643 w 10000"/>
              <a:gd name="connsiteY14" fmla="*/ 2605 h 10000"/>
              <a:gd name="connsiteX15" fmla="*/ 9742 w 10000"/>
              <a:gd name="connsiteY15" fmla="*/ 2856 h 10000"/>
              <a:gd name="connsiteX16" fmla="*/ 9821 w 10000"/>
              <a:gd name="connsiteY16" fmla="*/ 3106 h 10000"/>
              <a:gd name="connsiteX17" fmla="*/ 9881 w 10000"/>
              <a:gd name="connsiteY17" fmla="*/ 3357 h 10000"/>
              <a:gd name="connsiteX18" fmla="*/ 9940 w 10000"/>
              <a:gd name="connsiteY18" fmla="*/ 3606 h 10000"/>
              <a:gd name="connsiteX19" fmla="*/ 9980 w 10000"/>
              <a:gd name="connsiteY19" fmla="*/ 3874 h 10000"/>
              <a:gd name="connsiteX20" fmla="*/ 10000 w 10000"/>
              <a:gd name="connsiteY20" fmla="*/ 4141 h 10000"/>
              <a:gd name="connsiteX21" fmla="*/ 10000 w 10000"/>
              <a:gd name="connsiteY21" fmla="*/ 4392 h 10000"/>
              <a:gd name="connsiteX22" fmla="*/ 10000 w 10000"/>
              <a:gd name="connsiteY22" fmla="*/ 4658 h 10000"/>
              <a:gd name="connsiteX23" fmla="*/ 9980 w 10000"/>
              <a:gd name="connsiteY23" fmla="*/ 4926 h 10000"/>
              <a:gd name="connsiteX24" fmla="*/ 9940 w 10000"/>
              <a:gd name="connsiteY24" fmla="*/ 5193 h 10000"/>
              <a:gd name="connsiteX25" fmla="*/ 9901 w 10000"/>
              <a:gd name="connsiteY25" fmla="*/ 5459 h 10000"/>
              <a:gd name="connsiteX26" fmla="*/ 9841 w 10000"/>
              <a:gd name="connsiteY26" fmla="*/ 5710 h 10000"/>
              <a:gd name="connsiteX27" fmla="*/ 9762 w 10000"/>
              <a:gd name="connsiteY27" fmla="*/ 5977 h 10000"/>
              <a:gd name="connsiteX28" fmla="*/ 9663 w 10000"/>
              <a:gd name="connsiteY28" fmla="*/ 6227 h 10000"/>
              <a:gd name="connsiteX29" fmla="*/ 9544 w 10000"/>
              <a:gd name="connsiteY29" fmla="*/ 6494 h 10000"/>
              <a:gd name="connsiteX30" fmla="*/ 9425 w 10000"/>
              <a:gd name="connsiteY30" fmla="*/ 6745 h 10000"/>
              <a:gd name="connsiteX31" fmla="*/ 9286 w 10000"/>
              <a:gd name="connsiteY31" fmla="*/ 6995 h 10000"/>
              <a:gd name="connsiteX32" fmla="*/ 9127 w 10000"/>
              <a:gd name="connsiteY32" fmla="*/ 7229 h 10000"/>
              <a:gd name="connsiteX33" fmla="*/ 8948 w 10000"/>
              <a:gd name="connsiteY33" fmla="*/ 7480 h 10000"/>
              <a:gd name="connsiteX34" fmla="*/ 8948 w 10000"/>
              <a:gd name="connsiteY34" fmla="*/ 7480 h 10000"/>
              <a:gd name="connsiteX35" fmla="*/ 8770 w 10000"/>
              <a:gd name="connsiteY35" fmla="*/ 7713 h 10000"/>
              <a:gd name="connsiteX36" fmla="*/ 8571 w 10000"/>
              <a:gd name="connsiteY36" fmla="*/ 7931 h 10000"/>
              <a:gd name="connsiteX37" fmla="*/ 8353 w 10000"/>
              <a:gd name="connsiteY37" fmla="*/ 8147 h 10000"/>
              <a:gd name="connsiteX38" fmla="*/ 8135 w 10000"/>
              <a:gd name="connsiteY38" fmla="*/ 8347 h 10000"/>
              <a:gd name="connsiteX39" fmla="*/ 7917 w 10000"/>
              <a:gd name="connsiteY39" fmla="*/ 8531 h 10000"/>
              <a:gd name="connsiteX40" fmla="*/ 7679 w 10000"/>
              <a:gd name="connsiteY40" fmla="*/ 8715 h 10000"/>
              <a:gd name="connsiteX41" fmla="*/ 7421 w 10000"/>
              <a:gd name="connsiteY41" fmla="*/ 8882 h 10000"/>
              <a:gd name="connsiteX42" fmla="*/ 7163 w 10000"/>
              <a:gd name="connsiteY42" fmla="*/ 9032 h 10000"/>
              <a:gd name="connsiteX43" fmla="*/ 6905 w 10000"/>
              <a:gd name="connsiteY43" fmla="*/ 9182 h 10000"/>
              <a:gd name="connsiteX44" fmla="*/ 6627 w 10000"/>
              <a:gd name="connsiteY44" fmla="*/ 9316 h 10000"/>
              <a:gd name="connsiteX45" fmla="*/ 6349 w 10000"/>
              <a:gd name="connsiteY45" fmla="*/ 9432 h 10000"/>
              <a:gd name="connsiteX46" fmla="*/ 6071 w 10000"/>
              <a:gd name="connsiteY46" fmla="*/ 9549 h 10000"/>
              <a:gd name="connsiteX47" fmla="*/ 5774 w 10000"/>
              <a:gd name="connsiteY47" fmla="*/ 9650 h 10000"/>
              <a:gd name="connsiteX48" fmla="*/ 5496 w 10000"/>
              <a:gd name="connsiteY48" fmla="*/ 9733 h 10000"/>
              <a:gd name="connsiteX49" fmla="*/ 5198 w 10000"/>
              <a:gd name="connsiteY49" fmla="*/ 9800 h 10000"/>
              <a:gd name="connsiteX50" fmla="*/ 4881 w 10000"/>
              <a:gd name="connsiteY50" fmla="*/ 9866 h 10000"/>
              <a:gd name="connsiteX51" fmla="*/ 4583 w 10000"/>
              <a:gd name="connsiteY51" fmla="*/ 9916 h 10000"/>
              <a:gd name="connsiteX52" fmla="*/ 4266 w 10000"/>
              <a:gd name="connsiteY52" fmla="*/ 9950 h 10000"/>
              <a:gd name="connsiteX53" fmla="*/ 3968 w 10000"/>
              <a:gd name="connsiteY53" fmla="*/ 9983 h 10000"/>
              <a:gd name="connsiteX54" fmla="*/ 3651 w 10000"/>
              <a:gd name="connsiteY54" fmla="*/ 10000 h 10000"/>
              <a:gd name="connsiteX55" fmla="*/ 3333 w 10000"/>
              <a:gd name="connsiteY55" fmla="*/ 10000 h 10000"/>
              <a:gd name="connsiteX56" fmla="*/ 3036 w 10000"/>
              <a:gd name="connsiteY56" fmla="*/ 9983 h 10000"/>
              <a:gd name="connsiteX57" fmla="*/ 2718 w 10000"/>
              <a:gd name="connsiteY57" fmla="*/ 9950 h 10000"/>
              <a:gd name="connsiteX58" fmla="*/ 2401 w 10000"/>
              <a:gd name="connsiteY58" fmla="*/ 9916 h 10000"/>
              <a:gd name="connsiteX59" fmla="*/ 2083 w 10000"/>
              <a:gd name="connsiteY59" fmla="*/ 9866 h 10000"/>
              <a:gd name="connsiteX60" fmla="*/ 1786 w 10000"/>
              <a:gd name="connsiteY60" fmla="*/ 9800 h 10000"/>
              <a:gd name="connsiteX61" fmla="*/ 1468 w 10000"/>
              <a:gd name="connsiteY61" fmla="*/ 9733 h 10000"/>
              <a:gd name="connsiteX62" fmla="*/ 1171 w 10000"/>
              <a:gd name="connsiteY62" fmla="*/ 9633 h 10000"/>
              <a:gd name="connsiteX63" fmla="*/ 873 w 10000"/>
              <a:gd name="connsiteY63" fmla="*/ 9533 h 10000"/>
              <a:gd name="connsiteX64" fmla="*/ 575 w 10000"/>
              <a:gd name="connsiteY64" fmla="*/ 9416 h 10000"/>
              <a:gd name="connsiteX65" fmla="*/ 278 w 10000"/>
              <a:gd name="connsiteY65" fmla="*/ 9282 h 10000"/>
              <a:gd name="connsiteX66" fmla="*/ 0 w 10000"/>
              <a:gd name="connsiteY66" fmla="*/ 9132 h 10000"/>
              <a:gd name="connsiteX0" fmla="*/ 0 w 10000"/>
              <a:gd name="connsiteY0" fmla="*/ 9132 h 10000"/>
              <a:gd name="connsiteX1" fmla="*/ 7221 w 10000"/>
              <a:gd name="connsiteY1" fmla="*/ 0 h 10000"/>
              <a:gd name="connsiteX2" fmla="*/ 7401 w 10000"/>
              <a:gd name="connsiteY2" fmla="*/ 85 h 10000"/>
              <a:gd name="connsiteX3" fmla="*/ 7659 w 10000"/>
              <a:gd name="connsiteY3" fmla="*/ 252 h 10000"/>
              <a:gd name="connsiteX4" fmla="*/ 7897 w 10000"/>
              <a:gd name="connsiteY4" fmla="*/ 436 h 10000"/>
              <a:gd name="connsiteX5" fmla="*/ 8135 w 10000"/>
              <a:gd name="connsiteY5" fmla="*/ 619 h 10000"/>
              <a:gd name="connsiteX6" fmla="*/ 8353 w 10000"/>
              <a:gd name="connsiteY6" fmla="*/ 802 h 10000"/>
              <a:gd name="connsiteX7" fmla="*/ 8571 w 10000"/>
              <a:gd name="connsiteY7" fmla="*/ 1003 h 10000"/>
              <a:gd name="connsiteX8" fmla="*/ 8770 w 10000"/>
              <a:gd name="connsiteY8" fmla="*/ 1220 h 10000"/>
              <a:gd name="connsiteX9" fmla="*/ 8948 w 10000"/>
              <a:gd name="connsiteY9" fmla="*/ 1437 h 10000"/>
              <a:gd name="connsiteX10" fmla="*/ 9107 w 10000"/>
              <a:gd name="connsiteY10" fmla="*/ 1654 h 10000"/>
              <a:gd name="connsiteX11" fmla="*/ 9266 w 10000"/>
              <a:gd name="connsiteY11" fmla="*/ 1887 h 10000"/>
              <a:gd name="connsiteX12" fmla="*/ 9405 w 10000"/>
              <a:gd name="connsiteY12" fmla="*/ 2121 h 10000"/>
              <a:gd name="connsiteX13" fmla="*/ 9524 w 10000"/>
              <a:gd name="connsiteY13" fmla="*/ 2355 h 10000"/>
              <a:gd name="connsiteX14" fmla="*/ 9643 w 10000"/>
              <a:gd name="connsiteY14" fmla="*/ 2605 h 10000"/>
              <a:gd name="connsiteX15" fmla="*/ 9742 w 10000"/>
              <a:gd name="connsiteY15" fmla="*/ 2856 h 10000"/>
              <a:gd name="connsiteX16" fmla="*/ 9821 w 10000"/>
              <a:gd name="connsiteY16" fmla="*/ 3106 h 10000"/>
              <a:gd name="connsiteX17" fmla="*/ 9881 w 10000"/>
              <a:gd name="connsiteY17" fmla="*/ 3357 h 10000"/>
              <a:gd name="connsiteX18" fmla="*/ 9940 w 10000"/>
              <a:gd name="connsiteY18" fmla="*/ 3606 h 10000"/>
              <a:gd name="connsiteX19" fmla="*/ 9980 w 10000"/>
              <a:gd name="connsiteY19" fmla="*/ 3874 h 10000"/>
              <a:gd name="connsiteX20" fmla="*/ 10000 w 10000"/>
              <a:gd name="connsiteY20" fmla="*/ 4141 h 10000"/>
              <a:gd name="connsiteX21" fmla="*/ 10000 w 10000"/>
              <a:gd name="connsiteY21" fmla="*/ 4392 h 10000"/>
              <a:gd name="connsiteX22" fmla="*/ 10000 w 10000"/>
              <a:gd name="connsiteY22" fmla="*/ 4658 h 10000"/>
              <a:gd name="connsiteX23" fmla="*/ 9980 w 10000"/>
              <a:gd name="connsiteY23" fmla="*/ 4926 h 10000"/>
              <a:gd name="connsiteX24" fmla="*/ 9940 w 10000"/>
              <a:gd name="connsiteY24" fmla="*/ 5193 h 10000"/>
              <a:gd name="connsiteX25" fmla="*/ 9901 w 10000"/>
              <a:gd name="connsiteY25" fmla="*/ 5459 h 10000"/>
              <a:gd name="connsiteX26" fmla="*/ 9841 w 10000"/>
              <a:gd name="connsiteY26" fmla="*/ 5710 h 10000"/>
              <a:gd name="connsiteX27" fmla="*/ 9762 w 10000"/>
              <a:gd name="connsiteY27" fmla="*/ 5977 h 10000"/>
              <a:gd name="connsiteX28" fmla="*/ 9663 w 10000"/>
              <a:gd name="connsiteY28" fmla="*/ 6227 h 10000"/>
              <a:gd name="connsiteX29" fmla="*/ 9544 w 10000"/>
              <a:gd name="connsiteY29" fmla="*/ 6494 h 10000"/>
              <a:gd name="connsiteX30" fmla="*/ 9425 w 10000"/>
              <a:gd name="connsiteY30" fmla="*/ 6745 h 10000"/>
              <a:gd name="connsiteX31" fmla="*/ 9286 w 10000"/>
              <a:gd name="connsiteY31" fmla="*/ 6995 h 10000"/>
              <a:gd name="connsiteX32" fmla="*/ 9127 w 10000"/>
              <a:gd name="connsiteY32" fmla="*/ 7229 h 10000"/>
              <a:gd name="connsiteX33" fmla="*/ 8948 w 10000"/>
              <a:gd name="connsiteY33" fmla="*/ 7480 h 10000"/>
              <a:gd name="connsiteX34" fmla="*/ 8948 w 10000"/>
              <a:gd name="connsiteY34" fmla="*/ 7480 h 10000"/>
              <a:gd name="connsiteX35" fmla="*/ 8770 w 10000"/>
              <a:gd name="connsiteY35" fmla="*/ 7713 h 10000"/>
              <a:gd name="connsiteX36" fmla="*/ 8571 w 10000"/>
              <a:gd name="connsiteY36" fmla="*/ 7931 h 10000"/>
              <a:gd name="connsiteX37" fmla="*/ 8353 w 10000"/>
              <a:gd name="connsiteY37" fmla="*/ 8147 h 10000"/>
              <a:gd name="connsiteX38" fmla="*/ 8135 w 10000"/>
              <a:gd name="connsiteY38" fmla="*/ 8347 h 10000"/>
              <a:gd name="connsiteX39" fmla="*/ 7917 w 10000"/>
              <a:gd name="connsiteY39" fmla="*/ 8531 h 10000"/>
              <a:gd name="connsiteX40" fmla="*/ 7679 w 10000"/>
              <a:gd name="connsiteY40" fmla="*/ 8715 h 10000"/>
              <a:gd name="connsiteX41" fmla="*/ 7421 w 10000"/>
              <a:gd name="connsiteY41" fmla="*/ 8882 h 10000"/>
              <a:gd name="connsiteX42" fmla="*/ 7163 w 10000"/>
              <a:gd name="connsiteY42" fmla="*/ 9032 h 10000"/>
              <a:gd name="connsiteX43" fmla="*/ 6905 w 10000"/>
              <a:gd name="connsiteY43" fmla="*/ 9182 h 10000"/>
              <a:gd name="connsiteX44" fmla="*/ 6627 w 10000"/>
              <a:gd name="connsiteY44" fmla="*/ 9316 h 10000"/>
              <a:gd name="connsiteX45" fmla="*/ 6349 w 10000"/>
              <a:gd name="connsiteY45" fmla="*/ 9432 h 10000"/>
              <a:gd name="connsiteX46" fmla="*/ 6071 w 10000"/>
              <a:gd name="connsiteY46" fmla="*/ 9549 h 10000"/>
              <a:gd name="connsiteX47" fmla="*/ 5774 w 10000"/>
              <a:gd name="connsiteY47" fmla="*/ 9650 h 10000"/>
              <a:gd name="connsiteX48" fmla="*/ 5496 w 10000"/>
              <a:gd name="connsiteY48" fmla="*/ 9733 h 10000"/>
              <a:gd name="connsiteX49" fmla="*/ 5198 w 10000"/>
              <a:gd name="connsiteY49" fmla="*/ 9800 h 10000"/>
              <a:gd name="connsiteX50" fmla="*/ 4881 w 10000"/>
              <a:gd name="connsiteY50" fmla="*/ 9866 h 10000"/>
              <a:gd name="connsiteX51" fmla="*/ 4583 w 10000"/>
              <a:gd name="connsiteY51" fmla="*/ 9916 h 10000"/>
              <a:gd name="connsiteX52" fmla="*/ 4266 w 10000"/>
              <a:gd name="connsiteY52" fmla="*/ 9950 h 10000"/>
              <a:gd name="connsiteX53" fmla="*/ 3968 w 10000"/>
              <a:gd name="connsiteY53" fmla="*/ 9983 h 10000"/>
              <a:gd name="connsiteX54" fmla="*/ 3651 w 10000"/>
              <a:gd name="connsiteY54" fmla="*/ 10000 h 10000"/>
              <a:gd name="connsiteX55" fmla="*/ 3333 w 10000"/>
              <a:gd name="connsiteY55" fmla="*/ 10000 h 10000"/>
              <a:gd name="connsiteX56" fmla="*/ 3036 w 10000"/>
              <a:gd name="connsiteY56" fmla="*/ 9983 h 10000"/>
              <a:gd name="connsiteX57" fmla="*/ 2718 w 10000"/>
              <a:gd name="connsiteY57" fmla="*/ 9950 h 10000"/>
              <a:gd name="connsiteX58" fmla="*/ 2401 w 10000"/>
              <a:gd name="connsiteY58" fmla="*/ 9916 h 10000"/>
              <a:gd name="connsiteX59" fmla="*/ 2083 w 10000"/>
              <a:gd name="connsiteY59" fmla="*/ 9866 h 10000"/>
              <a:gd name="connsiteX60" fmla="*/ 1786 w 10000"/>
              <a:gd name="connsiteY60" fmla="*/ 9800 h 10000"/>
              <a:gd name="connsiteX61" fmla="*/ 1468 w 10000"/>
              <a:gd name="connsiteY61" fmla="*/ 9733 h 10000"/>
              <a:gd name="connsiteX62" fmla="*/ 1171 w 10000"/>
              <a:gd name="connsiteY62" fmla="*/ 9633 h 10000"/>
              <a:gd name="connsiteX63" fmla="*/ 873 w 10000"/>
              <a:gd name="connsiteY63" fmla="*/ 9533 h 10000"/>
              <a:gd name="connsiteX64" fmla="*/ 575 w 10000"/>
              <a:gd name="connsiteY64" fmla="*/ 9416 h 10000"/>
              <a:gd name="connsiteX65" fmla="*/ 278 w 10000"/>
              <a:gd name="connsiteY65" fmla="*/ 9282 h 10000"/>
              <a:gd name="connsiteX66" fmla="*/ 0 w 10000"/>
              <a:gd name="connsiteY66" fmla="*/ 9132 h 10000"/>
              <a:gd name="connsiteX0" fmla="*/ 0 w 10000"/>
              <a:gd name="connsiteY0" fmla="*/ 9132 h 10000"/>
              <a:gd name="connsiteX1" fmla="*/ 7221 w 10000"/>
              <a:gd name="connsiteY1" fmla="*/ 0 h 10000"/>
              <a:gd name="connsiteX2" fmla="*/ 7401 w 10000"/>
              <a:gd name="connsiteY2" fmla="*/ 85 h 10000"/>
              <a:gd name="connsiteX3" fmla="*/ 7659 w 10000"/>
              <a:gd name="connsiteY3" fmla="*/ 252 h 10000"/>
              <a:gd name="connsiteX4" fmla="*/ 7897 w 10000"/>
              <a:gd name="connsiteY4" fmla="*/ 436 h 10000"/>
              <a:gd name="connsiteX5" fmla="*/ 8135 w 10000"/>
              <a:gd name="connsiteY5" fmla="*/ 619 h 10000"/>
              <a:gd name="connsiteX6" fmla="*/ 8353 w 10000"/>
              <a:gd name="connsiteY6" fmla="*/ 802 h 10000"/>
              <a:gd name="connsiteX7" fmla="*/ 8571 w 10000"/>
              <a:gd name="connsiteY7" fmla="*/ 1003 h 10000"/>
              <a:gd name="connsiteX8" fmla="*/ 8770 w 10000"/>
              <a:gd name="connsiteY8" fmla="*/ 1220 h 10000"/>
              <a:gd name="connsiteX9" fmla="*/ 8948 w 10000"/>
              <a:gd name="connsiteY9" fmla="*/ 1437 h 10000"/>
              <a:gd name="connsiteX10" fmla="*/ 9107 w 10000"/>
              <a:gd name="connsiteY10" fmla="*/ 1654 h 10000"/>
              <a:gd name="connsiteX11" fmla="*/ 9266 w 10000"/>
              <a:gd name="connsiteY11" fmla="*/ 1887 h 10000"/>
              <a:gd name="connsiteX12" fmla="*/ 9405 w 10000"/>
              <a:gd name="connsiteY12" fmla="*/ 2121 h 10000"/>
              <a:gd name="connsiteX13" fmla="*/ 9524 w 10000"/>
              <a:gd name="connsiteY13" fmla="*/ 2355 h 10000"/>
              <a:gd name="connsiteX14" fmla="*/ 9643 w 10000"/>
              <a:gd name="connsiteY14" fmla="*/ 2605 h 10000"/>
              <a:gd name="connsiteX15" fmla="*/ 9742 w 10000"/>
              <a:gd name="connsiteY15" fmla="*/ 2856 h 10000"/>
              <a:gd name="connsiteX16" fmla="*/ 9821 w 10000"/>
              <a:gd name="connsiteY16" fmla="*/ 3106 h 10000"/>
              <a:gd name="connsiteX17" fmla="*/ 9881 w 10000"/>
              <a:gd name="connsiteY17" fmla="*/ 3357 h 10000"/>
              <a:gd name="connsiteX18" fmla="*/ 9940 w 10000"/>
              <a:gd name="connsiteY18" fmla="*/ 3606 h 10000"/>
              <a:gd name="connsiteX19" fmla="*/ 9980 w 10000"/>
              <a:gd name="connsiteY19" fmla="*/ 3874 h 10000"/>
              <a:gd name="connsiteX20" fmla="*/ 10000 w 10000"/>
              <a:gd name="connsiteY20" fmla="*/ 4141 h 10000"/>
              <a:gd name="connsiteX21" fmla="*/ 10000 w 10000"/>
              <a:gd name="connsiteY21" fmla="*/ 4392 h 10000"/>
              <a:gd name="connsiteX22" fmla="*/ 10000 w 10000"/>
              <a:gd name="connsiteY22" fmla="*/ 4658 h 10000"/>
              <a:gd name="connsiteX23" fmla="*/ 9980 w 10000"/>
              <a:gd name="connsiteY23" fmla="*/ 4926 h 10000"/>
              <a:gd name="connsiteX24" fmla="*/ 9940 w 10000"/>
              <a:gd name="connsiteY24" fmla="*/ 5193 h 10000"/>
              <a:gd name="connsiteX25" fmla="*/ 9901 w 10000"/>
              <a:gd name="connsiteY25" fmla="*/ 5459 h 10000"/>
              <a:gd name="connsiteX26" fmla="*/ 9841 w 10000"/>
              <a:gd name="connsiteY26" fmla="*/ 5710 h 10000"/>
              <a:gd name="connsiteX27" fmla="*/ 9762 w 10000"/>
              <a:gd name="connsiteY27" fmla="*/ 5977 h 10000"/>
              <a:gd name="connsiteX28" fmla="*/ 9663 w 10000"/>
              <a:gd name="connsiteY28" fmla="*/ 6227 h 10000"/>
              <a:gd name="connsiteX29" fmla="*/ 9544 w 10000"/>
              <a:gd name="connsiteY29" fmla="*/ 6494 h 10000"/>
              <a:gd name="connsiteX30" fmla="*/ 9425 w 10000"/>
              <a:gd name="connsiteY30" fmla="*/ 6745 h 10000"/>
              <a:gd name="connsiteX31" fmla="*/ 9286 w 10000"/>
              <a:gd name="connsiteY31" fmla="*/ 6995 h 10000"/>
              <a:gd name="connsiteX32" fmla="*/ 9127 w 10000"/>
              <a:gd name="connsiteY32" fmla="*/ 7229 h 10000"/>
              <a:gd name="connsiteX33" fmla="*/ 8948 w 10000"/>
              <a:gd name="connsiteY33" fmla="*/ 7480 h 10000"/>
              <a:gd name="connsiteX34" fmla="*/ 8948 w 10000"/>
              <a:gd name="connsiteY34" fmla="*/ 7480 h 10000"/>
              <a:gd name="connsiteX35" fmla="*/ 8770 w 10000"/>
              <a:gd name="connsiteY35" fmla="*/ 7713 h 10000"/>
              <a:gd name="connsiteX36" fmla="*/ 8571 w 10000"/>
              <a:gd name="connsiteY36" fmla="*/ 7931 h 10000"/>
              <a:gd name="connsiteX37" fmla="*/ 8353 w 10000"/>
              <a:gd name="connsiteY37" fmla="*/ 8147 h 10000"/>
              <a:gd name="connsiteX38" fmla="*/ 8135 w 10000"/>
              <a:gd name="connsiteY38" fmla="*/ 8347 h 10000"/>
              <a:gd name="connsiteX39" fmla="*/ 7917 w 10000"/>
              <a:gd name="connsiteY39" fmla="*/ 8531 h 10000"/>
              <a:gd name="connsiteX40" fmla="*/ 7679 w 10000"/>
              <a:gd name="connsiteY40" fmla="*/ 8715 h 10000"/>
              <a:gd name="connsiteX41" fmla="*/ 7421 w 10000"/>
              <a:gd name="connsiteY41" fmla="*/ 8882 h 10000"/>
              <a:gd name="connsiteX42" fmla="*/ 7163 w 10000"/>
              <a:gd name="connsiteY42" fmla="*/ 9032 h 10000"/>
              <a:gd name="connsiteX43" fmla="*/ 6905 w 10000"/>
              <a:gd name="connsiteY43" fmla="*/ 9182 h 10000"/>
              <a:gd name="connsiteX44" fmla="*/ 6627 w 10000"/>
              <a:gd name="connsiteY44" fmla="*/ 9316 h 10000"/>
              <a:gd name="connsiteX45" fmla="*/ 6349 w 10000"/>
              <a:gd name="connsiteY45" fmla="*/ 9432 h 10000"/>
              <a:gd name="connsiteX46" fmla="*/ 6071 w 10000"/>
              <a:gd name="connsiteY46" fmla="*/ 9549 h 10000"/>
              <a:gd name="connsiteX47" fmla="*/ 5774 w 10000"/>
              <a:gd name="connsiteY47" fmla="*/ 9650 h 10000"/>
              <a:gd name="connsiteX48" fmla="*/ 5496 w 10000"/>
              <a:gd name="connsiteY48" fmla="*/ 9733 h 10000"/>
              <a:gd name="connsiteX49" fmla="*/ 5198 w 10000"/>
              <a:gd name="connsiteY49" fmla="*/ 9800 h 10000"/>
              <a:gd name="connsiteX50" fmla="*/ 4881 w 10000"/>
              <a:gd name="connsiteY50" fmla="*/ 9866 h 10000"/>
              <a:gd name="connsiteX51" fmla="*/ 4583 w 10000"/>
              <a:gd name="connsiteY51" fmla="*/ 9916 h 10000"/>
              <a:gd name="connsiteX52" fmla="*/ 4266 w 10000"/>
              <a:gd name="connsiteY52" fmla="*/ 9950 h 10000"/>
              <a:gd name="connsiteX53" fmla="*/ 3968 w 10000"/>
              <a:gd name="connsiteY53" fmla="*/ 9983 h 10000"/>
              <a:gd name="connsiteX54" fmla="*/ 3651 w 10000"/>
              <a:gd name="connsiteY54" fmla="*/ 10000 h 10000"/>
              <a:gd name="connsiteX55" fmla="*/ 3333 w 10000"/>
              <a:gd name="connsiteY55" fmla="*/ 10000 h 10000"/>
              <a:gd name="connsiteX56" fmla="*/ 3036 w 10000"/>
              <a:gd name="connsiteY56" fmla="*/ 9983 h 10000"/>
              <a:gd name="connsiteX57" fmla="*/ 2718 w 10000"/>
              <a:gd name="connsiteY57" fmla="*/ 9950 h 10000"/>
              <a:gd name="connsiteX58" fmla="*/ 2401 w 10000"/>
              <a:gd name="connsiteY58" fmla="*/ 9916 h 10000"/>
              <a:gd name="connsiteX59" fmla="*/ 2083 w 10000"/>
              <a:gd name="connsiteY59" fmla="*/ 9866 h 10000"/>
              <a:gd name="connsiteX60" fmla="*/ 1786 w 10000"/>
              <a:gd name="connsiteY60" fmla="*/ 9800 h 10000"/>
              <a:gd name="connsiteX61" fmla="*/ 1468 w 10000"/>
              <a:gd name="connsiteY61" fmla="*/ 9733 h 10000"/>
              <a:gd name="connsiteX62" fmla="*/ 1171 w 10000"/>
              <a:gd name="connsiteY62" fmla="*/ 9633 h 10000"/>
              <a:gd name="connsiteX63" fmla="*/ 873 w 10000"/>
              <a:gd name="connsiteY63" fmla="*/ 9533 h 10000"/>
              <a:gd name="connsiteX64" fmla="*/ 575 w 10000"/>
              <a:gd name="connsiteY64" fmla="*/ 9416 h 10000"/>
              <a:gd name="connsiteX65" fmla="*/ 278 w 10000"/>
              <a:gd name="connsiteY65" fmla="*/ 9282 h 10000"/>
              <a:gd name="connsiteX66" fmla="*/ 0 w 10000"/>
              <a:gd name="connsiteY66" fmla="*/ 9132 h 10000"/>
              <a:gd name="connsiteX0" fmla="*/ 0 w 10000"/>
              <a:gd name="connsiteY0" fmla="*/ 9132 h 10000"/>
              <a:gd name="connsiteX1" fmla="*/ 7221 w 10000"/>
              <a:gd name="connsiteY1" fmla="*/ 0 h 10000"/>
              <a:gd name="connsiteX2" fmla="*/ 7401 w 10000"/>
              <a:gd name="connsiteY2" fmla="*/ 85 h 10000"/>
              <a:gd name="connsiteX3" fmla="*/ 7659 w 10000"/>
              <a:gd name="connsiteY3" fmla="*/ 252 h 10000"/>
              <a:gd name="connsiteX4" fmla="*/ 7897 w 10000"/>
              <a:gd name="connsiteY4" fmla="*/ 436 h 10000"/>
              <a:gd name="connsiteX5" fmla="*/ 8135 w 10000"/>
              <a:gd name="connsiteY5" fmla="*/ 619 h 10000"/>
              <a:gd name="connsiteX6" fmla="*/ 8353 w 10000"/>
              <a:gd name="connsiteY6" fmla="*/ 802 h 10000"/>
              <a:gd name="connsiteX7" fmla="*/ 8571 w 10000"/>
              <a:gd name="connsiteY7" fmla="*/ 1003 h 10000"/>
              <a:gd name="connsiteX8" fmla="*/ 8770 w 10000"/>
              <a:gd name="connsiteY8" fmla="*/ 1220 h 10000"/>
              <a:gd name="connsiteX9" fmla="*/ 8948 w 10000"/>
              <a:gd name="connsiteY9" fmla="*/ 1437 h 10000"/>
              <a:gd name="connsiteX10" fmla="*/ 9107 w 10000"/>
              <a:gd name="connsiteY10" fmla="*/ 1654 h 10000"/>
              <a:gd name="connsiteX11" fmla="*/ 9266 w 10000"/>
              <a:gd name="connsiteY11" fmla="*/ 1887 h 10000"/>
              <a:gd name="connsiteX12" fmla="*/ 9405 w 10000"/>
              <a:gd name="connsiteY12" fmla="*/ 2121 h 10000"/>
              <a:gd name="connsiteX13" fmla="*/ 9524 w 10000"/>
              <a:gd name="connsiteY13" fmla="*/ 2355 h 10000"/>
              <a:gd name="connsiteX14" fmla="*/ 9643 w 10000"/>
              <a:gd name="connsiteY14" fmla="*/ 2605 h 10000"/>
              <a:gd name="connsiteX15" fmla="*/ 9742 w 10000"/>
              <a:gd name="connsiteY15" fmla="*/ 2856 h 10000"/>
              <a:gd name="connsiteX16" fmla="*/ 9821 w 10000"/>
              <a:gd name="connsiteY16" fmla="*/ 3106 h 10000"/>
              <a:gd name="connsiteX17" fmla="*/ 9881 w 10000"/>
              <a:gd name="connsiteY17" fmla="*/ 3357 h 10000"/>
              <a:gd name="connsiteX18" fmla="*/ 9940 w 10000"/>
              <a:gd name="connsiteY18" fmla="*/ 3606 h 10000"/>
              <a:gd name="connsiteX19" fmla="*/ 9980 w 10000"/>
              <a:gd name="connsiteY19" fmla="*/ 3874 h 10000"/>
              <a:gd name="connsiteX20" fmla="*/ 10000 w 10000"/>
              <a:gd name="connsiteY20" fmla="*/ 4141 h 10000"/>
              <a:gd name="connsiteX21" fmla="*/ 10000 w 10000"/>
              <a:gd name="connsiteY21" fmla="*/ 4392 h 10000"/>
              <a:gd name="connsiteX22" fmla="*/ 10000 w 10000"/>
              <a:gd name="connsiteY22" fmla="*/ 4658 h 10000"/>
              <a:gd name="connsiteX23" fmla="*/ 9980 w 10000"/>
              <a:gd name="connsiteY23" fmla="*/ 4926 h 10000"/>
              <a:gd name="connsiteX24" fmla="*/ 9940 w 10000"/>
              <a:gd name="connsiteY24" fmla="*/ 5193 h 10000"/>
              <a:gd name="connsiteX25" fmla="*/ 9901 w 10000"/>
              <a:gd name="connsiteY25" fmla="*/ 5459 h 10000"/>
              <a:gd name="connsiteX26" fmla="*/ 9841 w 10000"/>
              <a:gd name="connsiteY26" fmla="*/ 5710 h 10000"/>
              <a:gd name="connsiteX27" fmla="*/ 9762 w 10000"/>
              <a:gd name="connsiteY27" fmla="*/ 5977 h 10000"/>
              <a:gd name="connsiteX28" fmla="*/ 9663 w 10000"/>
              <a:gd name="connsiteY28" fmla="*/ 6227 h 10000"/>
              <a:gd name="connsiteX29" fmla="*/ 9544 w 10000"/>
              <a:gd name="connsiteY29" fmla="*/ 6494 h 10000"/>
              <a:gd name="connsiteX30" fmla="*/ 9425 w 10000"/>
              <a:gd name="connsiteY30" fmla="*/ 6745 h 10000"/>
              <a:gd name="connsiteX31" fmla="*/ 9286 w 10000"/>
              <a:gd name="connsiteY31" fmla="*/ 6995 h 10000"/>
              <a:gd name="connsiteX32" fmla="*/ 9127 w 10000"/>
              <a:gd name="connsiteY32" fmla="*/ 7229 h 10000"/>
              <a:gd name="connsiteX33" fmla="*/ 8948 w 10000"/>
              <a:gd name="connsiteY33" fmla="*/ 7480 h 10000"/>
              <a:gd name="connsiteX34" fmla="*/ 8948 w 10000"/>
              <a:gd name="connsiteY34" fmla="*/ 7480 h 10000"/>
              <a:gd name="connsiteX35" fmla="*/ 8770 w 10000"/>
              <a:gd name="connsiteY35" fmla="*/ 7713 h 10000"/>
              <a:gd name="connsiteX36" fmla="*/ 8571 w 10000"/>
              <a:gd name="connsiteY36" fmla="*/ 7931 h 10000"/>
              <a:gd name="connsiteX37" fmla="*/ 8353 w 10000"/>
              <a:gd name="connsiteY37" fmla="*/ 8147 h 10000"/>
              <a:gd name="connsiteX38" fmla="*/ 8135 w 10000"/>
              <a:gd name="connsiteY38" fmla="*/ 8347 h 10000"/>
              <a:gd name="connsiteX39" fmla="*/ 7917 w 10000"/>
              <a:gd name="connsiteY39" fmla="*/ 8531 h 10000"/>
              <a:gd name="connsiteX40" fmla="*/ 7679 w 10000"/>
              <a:gd name="connsiteY40" fmla="*/ 8715 h 10000"/>
              <a:gd name="connsiteX41" fmla="*/ 7421 w 10000"/>
              <a:gd name="connsiteY41" fmla="*/ 8882 h 10000"/>
              <a:gd name="connsiteX42" fmla="*/ 7163 w 10000"/>
              <a:gd name="connsiteY42" fmla="*/ 9032 h 10000"/>
              <a:gd name="connsiteX43" fmla="*/ 6905 w 10000"/>
              <a:gd name="connsiteY43" fmla="*/ 9182 h 10000"/>
              <a:gd name="connsiteX44" fmla="*/ 6627 w 10000"/>
              <a:gd name="connsiteY44" fmla="*/ 9316 h 10000"/>
              <a:gd name="connsiteX45" fmla="*/ 6349 w 10000"/>
              <a:gd name="connsiteY45" fmla="*/ 9432 h 10000"/>
              <a:gd name="connsiteX46" fmla="*/ 6071 w 10000"/>
              <a:gd name="connsiteY46" fmla="*/ 9549 h 10000"/>
              <a:gd name="connsiteX47" fmla="*/ 5774 w 10000"/>
              <a:gd name="connsiteY47" fmla="*/ 9650 h 10000"/>
              <a:gd name="connsiteX48" fmla="*/ 5496 w 10000"/>
              <a:gd name="connsiteY48" fmla="*/ 9733 h 10000"/>
              <a:gd name="connsiteX49" fmla="*/ 5198 w 10000"/>
              <a:gd name="connsiteY49" fmla="*/ 9800 h 10000"/>
              <a:gd name="connsiteX50" fmla="*/ 4881 w 10000"/>
              <a:gd name="connsiteY50" fmla="*/ 9866 h 10000"/>
              <a:gd name="connsiteX51" fmla="*/ 4583 w 10000"/>
              <a:gd name="connsiteY51" fmla="*/ 9916 h 10000"/>
              <a:gd name="connsiteX52" fmla="*/ 4266 w 10000"/>
              <a:gd name="connsiteY52" fmla="*/ 9950 h 10000"/>
              <a:gd name="connsiteX53" fmla="*/ 3968 w 10000"/>
              <a:gd name="connsiteY53" fmla="*/ 9983 h 10000"/>
              <a:gd name="connsiteX54" fmla="*/ 3651 w 10000"/>
              <a:gd name="connsiteY54" fmla="*/ 10000 h 10000"/>
              <a:gd name="connsiteX55" fmla="*/ 3333 w 10000"/>
              <a:gd name="connsiteY55" fmla="*/ 10000 h 10000"/>
              <a:gd name="connsiteX56" fmla="*/ 3036 w 10000"/>
              <a:gd name="connsiteY56" fmla="*/ 9983 h 10000"/>
              <a:gd name="connsiteX57" fmla="*/ 2718 w 10000"/>
              <a:gd name="connsiteY57" fmla="*/ 9950 h 10000"/>
              <a:gd name="connsiteX58" fmla="*/ 2401 w 10000"/>
              <a:gd name="connsiteY58" fmla="*/ 9916 h 10000"/>
              <a:gd name="connsiteX59" fmla="*/ 2083 w 10000"/>
              <a:gd name="connsiteY59" fmla="*/ 9866 h 10000"/>
              <a:gd name="connsiteX60" fmla="*/ 1786 w 10000"/>
              <a:gd name="connsiteY60" fmla="*/ 9800 h 10000"/>
              <a:gd name="connsiteX61" fmla="*/ 1468 w 10000"/>
              <a:gd name="connsiteY61" fmla="*/ 9733 h 10000"/>
              <a:gd name="connsiteX62" fmla="*/ 1171 w 10000"/>
              <a:gd name="connsiteY62" fmla="*/ 9633 h 10000"/>
              <a:gd name="connsiteX63" fmla="*/ 873 w 10000"/>
              <a:gd name="connsiteY63" fmla="*/ 9533 h 10000"/>
              <a:gd name="connsiteX64" fmla="*/ 575 w 10000"/>
              <a:gd name="connsiteY64" fmla="*/ 9416 h 10000"/>
              <a:gd name="connsiteX65" fmla="*/ 278 w 10000"/>
              <a:gd name="connsiteY65" fmla="*/ 9282 h 10000"/>
              <a:gd name="connsiteX66" fmla="*/ 0 w 10000"/>
              <a:gd name="connsiteY66" fmla="*/ 913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10000" h="10000">
                <a:moveTo>
                  <a:pt x="0" y="9132"/>
                </a:moveTo>
                <a:cubicBezTo>
                  <a:pt x="-59" y="9118"/>
                  <a:pt x="7182" y="-52"/>
                  <a:pt x="7221" y="0"/>
                </a:cubicBezTo>
                <a:lnTo>
                  <a:pt x="7401" y="85"/>
                </a:lnTo>
                <a:lnTo>
                  <a:pt x="7659" y="252"/>
                </a:lnTo>
                <a:lnTo>
                  <a:pt x="7897" y="436"/>
                </a:lnTo>
                <a:lnTo>
                  <a:pt x="8135" y="619"/>
                </a:lnTo>
                <a:lnTo>
                  <a:pt x="8353" y="802"/>
                </a:lnTo>
                <a:lnTo>
                  <a:pt x="8571" y="1003"/>
                </a:lnTo>
                <a:lnTo>
                  <a:pt x="8770" y="1220"/>
                </a:lnTo>
                <a:lnTo>
                  <a:pt x="8948" y="1437"/>
                </a:lnTo>
                <a:lnTo>
                  <a:pt x="9107" y="1654"/>
                </a:lnTo>
                <a:lnTo>
                  <a:pt x="9266" y="1887"/>
                </a:lnTo>
                <a:cubicBezTo>
                  <a:pt x="9312" y="1965"/>
                  <a:pt x="9359" y="2043"/>
                  <a:pt x="9405" y="2121"/>
                </a:cubicBezTo>
                <a:cubicBezTo>
                  <a:pt x="9445" y="2199"/>
                  <a:pt x="9484" y="2277"/>
                  <a:pt x="9524" y="2355"/>
                </a:cubicBezTo>
                <a:cubicBezTo>
                  <a:pt x="9564" y="2438"/>
                  <a:pt x="9603" y="2522"/>
                  <a:pt x="9643" y="2605"/>
                </a:cubicBezTo>
                <a:cubicBezTo>
                  <a:pt x="9676" y="2689"/>
                  <a:pt x="9709" y="2772"/>
                  <a:pt x="9742" y="2856"/>
                </a:cubicBezTo>
                <a:cubicBezTo>
                  <a:pt x="9768" y="2939"/>
                  <a:pt x="9795" y="3023"/>
                  <a:pt x="9821" y="3106"/>
                </a:cubicBezTo>
                <a:cubicBezTo>
                  <a:pt x="9841" y="3190"/>
                  <a:pt x="9861" y="3273"/>
                  <a:pt x="9881" y="3357"/>
                </a:cubicBezTo>
                <a:cubicBezTo>
                  <a:pt x="9901" y="3440"/>
                  <a:pt x="9920" y="3523"/>
                  <a:pt x="9940" y="3606"/>
                </a:cubicBezTo>
                <a:cubicBezTo>
                  <a:pt x="9953" y="3696"/>
                  <a:pt x="9967" y="3785"/>
                  <a:pt x="9980" y="3874"/>
                </a:cubicBezTo>
                <a:cubicBezTo>
                  <a:pt x="9987" y="3963"/>
                  <a:pt x="9993" y="4052"/>
                  <a:pt x="10000" y="4141"/>
                </a:cubicBezTo>
                <a:lnTo>
                  <a:pt x="10000" y="4392"/>
                </a:lnTo>
                <a:lnTo>
                  <a:pt x="10000" y="4658"/>
                </a:lnTo>
                <a:cubicBezTo>
                  <a:pt x="9993" y="4748"/>
                  <a:pt x="9987" y="4836"/>
                  <a:pt x="9980" y="4926"/>
                </a:cubicBezTo>
                <a:cubicBezTo>
                  <a:pt x="9967" y="5015"/>
                  <a:pt x="9953" y="5104"/>
                  <a:pt x="9940" y="5193"/>
                </a:cubicBezTo>
                <a:cubicBezTo>
                  <a:pt x="9927" y="5281"/>
                  <a:pt x="9914" y="5371"/>
                  <a:pt x="9901" y="5459"/>
                </a:cubicBezTo>
                <a:cubicBezTo>
                  <a:pt x="9881" y="5543"/>
                  <a:pt x="9861" y="5626"/>
                  <a:pt x="9841" y="5710"/>
                </a:cubicBezTo>
                <a:cubicBezTo>
                  <a:pt x="9815" y="5799"/>
                  <a:pt x="9788" y="5888"/>
                  <a:pt x="9762" y="5977"/>
                </a:cubicBezTo>
                <a:cubicBezTo>
                  <a:pt x="9729" y="6060"/>
                  <a:pt x="9696" y="6144"/>
                  <a:pt x="9663" y="6227"/>
                </a:cubicBezTo>
                <a:cubicBezTo>
                  <a:pt x="9623" y="6316"/>
                  <a:pt x="9584" y="6406"/>
                  <a:pt x="9544" y="6494"/>
                </a:cubicBezTo>
                <a:lnTo>
                  <a:pt x="9425" y="6745"/>
                </a:lnTo>
                <a:lnTo>
                  <a:pt x="9286" y="6995"/>
                </a:lnTo>
                <a:lnTo>
                  <a:pt x="9127" y="7229"/>
                </a:lnTo>
                <a:lnTo>
                  <a:pt x="8948" y="7480"/>
                </a:lnTo>
                <a:lnTo>
                  <a:pt x="8948" y="7480"/>
                </a:lnTo>
                <a:cubicBezTo>
                  <a:pt x="8889" y="7558"/>
                  <a:pt x="8829" y="7635"/>
                  <a:pt x="8770" y="7713"/>
                </a:cubicBezTo>
                <a:cubicBezTo>
                  <a:pt x="8704" y="7786"/>
                  <a:pt x="8637" y="7858"/>
                  <a:pt x="8571" y="7931"/>
                </a:cubicBezTo>
                <a:lnTo>
                  <a:pt x="8353" y="8147"/>
                </a:lnTo>
                <a:lnTo>
                  <a:pt x="8135" y="8347"/>
                </a:lnTo>
                <a:lnTo>
                  <a:pt x="7917" y="8531"/>
                </a:lnTo>
                <a:lnTo>
                  <a:pt x="7679" y="8715"/>
                </a:lnTo>
                <a:lnTo>
                  <a:pt x="7421" y="8882"/>
                </a:lnTo>
                <a:lnTo>
                  <a:pt x="7163" y="9032"/>
                </a:lnTo>
                <a:lnTo>
                  <a:pt x="6905" y="9182"/>
                </a:lnTo>
                <a:lnTo>
                  <a:pt x="6627" y="9316"/>
                </a:lnTo>
                <a:lnTo>
                  <a:pt x="6349" y="9432"/>
                </a:lnTo>
                <a:lnTo>
                  <a:pt x="6071" y="9549"/>
                </a:lnTo>
                <a:lnTo>
                  <a:pt x="5774" y="9650"/>
                </a:lnTo>
                <a:lnTo>
                  <a:pt x="5496" y="9733"/>
                </a:lnTo>
                <a:lnTo>
                  <a:pt x="5198" y="9800"/>
                </a:lnTo>
                <a:lnTo>
                  <a:pt x="4881" y="9866"/>
                </a:lnTo>
                <a:lnTo>
                  <a:pt x="4583" y="9916"/>
                </a:lnTo>
                <a:lnTo>
                  <a:pt x="4266" y="9950"/>
                </a:lnTo>
                <a:lnTo>
                  <a:pt x="3968" y="9983"/>
                </a:lnTo>
                <a:lnTo>
                  <a:pt x="3651" y="10000"/>
                </a:lnTo>
                <a:lnTo>
                  <a:pt x="3333" y="10000"/>
                </a:lnTo>
                <a:lnTo>
                  <a:pt x="3036" y="9983"/>
                </a:lnTo>
                <a:lnTo>
                  <a:pt x="2718" y="9950"/>
                </a:lnTo>
                <a:lnTo>
                  <a:pt x="2401" y="9916"/>
                </a:lnTo>
                <a:lnTo>
                  <a:pt x="2083" y="9866"/>
                </a:lnTo>
                <a:lnTo>
                  <a:pt x="1786" y="9800"/>
                </a:lnTo>
                <a:lnTo>
                  <a:pt x="1468" y="9733"/>
                </a:lnTo>
                <a:lnTo>
                  <a:pt x="1171" y="9633"/>
                </a:lnTo>
                <a:lnTo>
                  <a:pt x="873" y="9533"/>
                </a:lnTo>
                <a:lnTo>
                  <a:pt x="575" y="9416"/>
                </a:lnTo>
                <a:lnTo>
                  <a:pt x="278" y="9282"/>
                </a:lnTo>
                <a:lnTo>
                  <a:pt x="0" y="9132"/>
                </a:lnTo>
                <a:close/>
              </a:path>
            </a:pathLst>
          </a:custGeom>
          <a:solidFill>
            <a:srgbClr val="BBBBBB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3802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</a:endParaRPr>
          </a:p>
        </p:txBody>
      </p:sp>
      <p:sp>
        <p:nvSpPr>
          <p:cNvPr id="115" name="Footer Placeholder 10"/>
          <p:cNvSpPr txBox="1">
            <a:spLocks/>
          </p:cNvSpPr>
          <p:nvPr userDrawn="1"/>
        </p:nvSpPr>
        <p:spPr>
          <a:xfrm>
            <a:off x="5605157" y="5440070"/>
            <a:ext cx="6265412" cy="79462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24282" rtl="0" eaLnBrk="1" latinLnBrk="0" hangingPunct="1">
              <a:defRPr sz="1000" kern="1200">
                <a:solidFill>
                  <a:schemeClr val="accent4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2140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4282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6422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8564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0704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2846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4986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97126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C8C9C7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201</a:t>
            </a:r>
            <a:r>
              <a:rPr kumimoji="0" lang="cs-CZ" sz="1333" b="0" i="0" u="none" strike="noStrike" kern="1200" cap="none" spc="0" normalizeH="0" baseline="0" noProof="0" dirty="0">
                <a:ln>
                  <a:noFill/>
                </a:ln>
                <a:solidFill>
                  <a:srgbClr val="C8C9C7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</a:t>
            </a: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C8C9C7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psos.  All rights reserved. Contains Ipsos' Confidential and Proprietary information and may not be disclosed or reproduced without the prior written consent of Ipsos.</a:t>
            </a:r>
          </a:p>
        </p:txBody>
      </p:sp>
      <p:sp>
        <p:nvSpPr>
          <p:cNvPr id="116" name="Zástupný symbol pro obrázek 9"/>
          <p:cNvSpPr>
            <a:spLocks noGrp="1"/>
          </p:cNvSpPr>
          <p:nvPr>
            <p:ph type="pic" sz="quarter" idx="15" hasCustomPrompt="1"/>
          </p:nvPr>
        </p:nvSpPr>
        <p:spPr>
          <a:xfrm>
            <a:off x="10026914" y="1333741"/>
            <a:ext cx="1824567" cy="1217084"/>
          </a:xfr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cs-CZ" sz="2400" b="0" i="0" u="none" strike="noStrike" kern="0" cap="none" spc="0" normalizeH="0" baseline="0" noProof="0"/>
            </a:lvl1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ent</a:t>
            </a: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Logo </a:t>
            </a:r>
            <a:r>
              <a:rPr kumimoji="0" lang="cs-CZ" sz="2400" b="0" i="0" u="none" strike="noStrike" kern="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ptional</a:t>
            </a:r>
            <a:endParaRPr kumimoji="0" lang="cs-CZ" sz="2400" b="0" i="0" u="none" strike="noStrike" kern="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17" name="Picture 11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9440329" y="6362470"/>
            <a:ext cx="1840249" cy="369556"/>
          </a:xfrm>
          <a:prstGeom prst="rect">
            <a:avLst/>
          </a:prstGeom>
        </p:spPr>
      </p:pic>
      <p:sp>
        <p:nvSpPr>
          <p:cNvPr id="118" name="Zástupný symbol pro text 4"/>
          <p:cNvSpPr>
            <a:spLocks noGrp="1"/>
          </p:cNvSpPr>
          <p:nvPr>
            <p:ph type="body" sz="quarter" idx="16" hasCustomPrompt="1"/>
          </p:nvPr>
        </p:nvSpPr>
        <p:spPr>
          <a:xfrm>
            <a:off x="5423926" y="3284786"/>
            <a:ext cx="6047316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800" b="1" cap="all" baseline="0">
                <a:solidFill>
                  <a:srgbClr val="404040"/>
                </a:solidFill>
              </a:defRPr>
            </a:lvl1pPr>
          </a:lstStyle>
          <a:p>
            <a:pPr lvl="0"/>
            <a:r>
              <a:rPr lang="cs-CZ" dirty="0" err="1"/>
              <a:t>Presentation</a:t>
            </a:r>
            <a:r>
              <a:rPr lang="cs-CZ" dirty="0"/>
              <a:t> </a:t>
            </a:r>
            <a:r>
              <a:rPr lang="cs-CZ" dirty="0" err="1"/>
              <a:t>title</a:t>
            </a:r>
            <a:endParaRPr lang="en-US" dirty="0"/>
          </a:p>
        </p:txBody>
      </p:sp>
      <p:sp>
        <p:nvSpPr>
          <p:cNvPr id="119" name="Zástupný symbol pro text 11"/>
          <p:cNvSpPr>
            <a:spLocks noGrp="1"/>
          </p:cNvSpPr>
          <p:nvPr>
            <p:ph type="body" sz="quarter" idx="17" hasCustomPrompt="1"/>
          </p:nvPr>
        </p:nvSpPr>
        <p:spPr>
          <a:xfrm>
            <a:off x="5454973" y="4887914"/>
            <a:ext cx="1111249" cy="368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cs-CZ" dirty="0" err="1"/>
              <a:t>Date</a:t>
            </a:r>
            <a:endParaRPr lang="en-US" dirty="0"/>
          </a:p>
        </p:txBody>
      </p:sp>
      <p:sp>
        <p:nvSpPr>
          <p:cNvPr id="120" name="Zástupný symbol pro text 4"/>
          <p:cNvSpPr>
            <a:spLocks noGrp="1"/>
          </p:cNvSpPr>
          <p:nvPr>
            <p:ph type="body" sz="quarter" idx="18" hasCustomPrompt="1"/>
          </p:nvPr>
        </p:nvSpPr>
        <p:spPr>
          <a:xfrm>
            <a:off x="5423926" y="4100877"/>
            <a:ext cx="6047316" cy="5762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4800" b="1" baseline="0">
                <a:solidFill>
                  <a:srgbClr val="404040"/>
                </a:solidFill>
              </a:defRPr>
            </a:lvl1pPr>
          </a:lstStyle>
          <a:p>
            <a:pPr lvl="0"/>
            <a:r>
              <a:rPr lang="cs-CZ" dirty="0" err="1"/>
              <a:t>Additional</a:t>
            </a:r>
            <a:r>
              <a:rPr lang="cs-CZ" dirty="0"/>
              <a:t> </a:t>
            </a:r>
            <a:r>
              <a:rPr lang="cs-CZ" dirty="0" err="1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35142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obsah - 2 radky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obsah 10"/>
          <p:cNvSpPr>
            <a:spLocks noGrp="1"/>
          </p:cNvSpPr>
          <p:nvPr>
            <p:ph sz="quarter" idx="18" hasCustomPrompt="1"/>
          </p:nvPr>
        </p:nvSpPr>
        <p:spPr>
          <a:xfrm>
            <a:off x="912333" y="1602000"/>
            <a:ext cx="10560000" cy="4780800"/>
          </a:xfrm>
        </p:spPr>
        <p:txBody>
          <a:bodyPr/>
          <a:lstStyle/>
          <a:p>
            <a:pPr lvl="0"/>
            <a:r>
              <a:rPr lang="en-US" dirty="0"/>
              <a:t>Click to edit the style of the original text</a:t>
            </a:r>
            <a:r>
              <a:rPr lang="cs-CZ" dirty="0"/>
              <a:t>.</a:t>
            </a:r>
          </a:p>
          <a:p>
            <a:pPr lvl="1"/>
            <a:r>
              <a:rPr lang="en-US" dirty="0"/>
              <a:t>second level</a:t>
            </a:r>
            <a:endParaRPr lang="cs-CZ" dirty="0"/>
          </a:p>
          <a:p>
            <a:pPr lvl="2"/>
            <a:r>
              <a:rPr lang="en-US" dirty="0"/>
              <a:t>third level</a:t>
            </a:r>
            <a:endParaRPr lang="cs-CZ" dirty="0"/>
          </a:p>
          <a:p>
            <a:pPr lvl="3"/>
            <a:r>
              <a:rPr lang="en-US" dirty="0"/>
              <a:t>fourth level </a:t>
            </a:r>
            <a:endParaRPr lang="cs-CZ" dirty="0"/>
          </a:p>
          <a:p>
            <a:pPr lvl="4"/>
            <a:r>
              <a:rPr lang="en-US" dirty="0"/>
              <a:t>fifth lev el</a:t>
            </a:r>
            <a:endParaRPr lang="cs-CZ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152001" y="1112044"/>
            <a:ext cx="10512951" cy="499875"/>
          </a:xfrm>
          <a:prstGeom prst="rect">
            <a:avLst/>
          </a:prstGeom>
        </p:spPr>
        <p:txBody>
          <a:bodyPr wrap="square" lIns="36000" tIns="0" rIns="36000" bIns="36000" anchor="t" anchorCtr="0">
            <a:spAutoFit/>
          </a:bodyPr>
          <a:lstStyle>
            <a:lvl1pPr marL="0" indent="0" defTabSz="287993">
              <a:spcBef>
                <a:spcPts val="0"/>
              </a:spcBef>
              <a:buNone/>
              <a:defRPr sz="1467" i="1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Arial" pitchFamily="34" charset="0"/>
              </a:defRPr>
            </a:lvl1pPr>
            <a:lvl2pPr marL="609585" indent="0">
              <a:buNone/>
              <a:defRPr sz="16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6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6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6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</a:t>
            </a:r>
            <a:br>
              <a:rPr lang="cs-CZ" dirty="0"/>
            </a:br>
            <a:r>
              <a:rPr lang="en-US" dirty="0"/>
              <a:t>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912002" y="6213600"/>
            <a:ext cx="10512951" cy="222283"/>
          </a:xfrm>
          <a:prstGeom prst="rect">
            <a:avLst/>
          </a:prstGeom>
        </p:spPr>
        <p:txBody>
          <a:bodyPr wrap="square" lIns="36000" tIns="0" rIns="36000" bIns="0" anchor="t" anchorCtr="0">
            <a:spAutoFit/>
          </a:bodyPr>
          <a:lstStyle>
            <a:lvl1pPr marL="0" indent="0">
              <a:lnSpc>
                <a:spcPts val="1733"/>
              </a:lnSpc>
              <a:buNone/>
              <a:defRPr sz="1467" i="1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Arial" pitchFamily="34" charset="0"/>
              </a:defRPr>
            </a:lvl1pPr>
            <a:lvl2pPr marL="609585" indent="0">
              <a:buNone/>
              <a:defRPr sz="16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6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6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6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Zástupný symbol pro číslo snímku 5"/>
          <p:cNvSpPr txBox="1">
            <a:spLocks/>
          </p:cNvSpPr>
          <p:nvPr userDrawn="1"/>
        </p:nvSpPr>
        <p:spPr>
          <a:xfrm>
            <a:off x="-12824" y="6545664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/>
              <a:pPr/>
              <a:t>‹#›</a:t>
            </a:fld>
            <a:endParaRPr lang="cs-CZ" sz="1600" dirty="0"/>
          </a:p>
        </p:txBody>
      </p:sp>
      <p:sp>
        <p:nvSpPr>
          <p:cNvPr id="14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73523" y="6570000"/>
            <a:ext cx="6826944" cy="30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733" b="1">
                <a:solidFill>
                  <a:srgbClr val="40404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cs-CZ"/>
              <a:t>© Ipsos | pro ČMSS_Měření zpětné vazby | Únor 2020</a:t>
            </a:r>
            <a:endParaRPr lang="cs-CZ" dirty="0"/>
          </a:p>
        </p:txBody>
      </p:sp>
      <p:sp>
        <p:nvSpPr>
          <p:cNvPr id="15" name="Zástupný symbol pro nadpis 1"/>
          <p:cNvSpPr>
            <a:spLocks noGrp="1"/>
          </p:cNvSpPr>
          <p:nvPr>
            <p:ph type="title"/>
          </p:nvPr>
        </p:nvSpPr>
        <p:spPr>
          <a:xfrm>
            <a:off x="282744" y="8476"/>
            <a:ext cx="11573896" cy="626296"/>
          </a:xfrm>
          <a:prstGeom prst="rect">
            <a:avLst/>
          </a:prstGeom>
        </p:spPr>
        <p:txBody>
          <a:bodyPr vert="horz" lIns="36000" tIns="45720" rIns="36000" bIns="45720" rtlCol="0" anchor="t">
            <a:normAutofit/>
          </a:bodyPr>
          <a:lstStyle/>
          <a:p>
            <a:r>
              <a:rPr lang="en-US" dirty="0"/>
              <a:t>Click to edit template headings</a:t>
            </a:r>
            <a:r>
              <a:rPr lang="cs-CZ" dirty="0"/>
              <a:t> </a:t>
            </a:r>
            <a:r>
              <a:rPr lang="en-US" dirty="0"/>
              <a:t>style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598707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023D82B7-2F4C-44B9-86E0-CC8788B29179}"/>
              </a:ext>
            </a:extLst>
          </p:cNvPr>
          <p:cNvSpPr/>
          <p:nvPr userDrawn="1"/>
        </p:nvSpPr>
        <p:spPr>
          <a:xfrm>
            <a:off x="8016213" y="0"/>
            <a:ext cx="4175787" cy="6858000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667" dirty="0" err="1">
              <a:solidFill>
                <a:srgbClr val="003399"/>
              </a:solidFill>
              <a:latin typeface="Calibri" pitchFamily="34" charset="0"/>
            </a:endParaRPr>
          </a:p>
        </p:txBody>
      </p:sp>
      <p:sp>
        <p:nvSpPr>
          <p:cNvPr id="4" name="Zástupný symbol pro číslo snímku 5">
            <a:extLst>
              <a:ext uri="{FF2B5EF4-FFF2-40B4-BE49-F238E27FC236}">
                <a16:creationId xmlns:a16="http://schemas.microsoft.com/office/drawing/2014/main" id="{C5C84513-E08E-4F77-AC8F-7ECF29C44E2C}"/>
              </a:ext>
            </a:extLst>
          </p:cNvPr>
          <p:cNvSpPr txBox="1">
            <a:spLocks/>
          </p:cNvSpPr>
          <p:nvPr userDrawn="1"/>
        </p:nvSpPr>
        <p:spPr>
          <a:xfrm>
            <a:off x="-12824" y="6545664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/>
              <a:pPr/>
              <a:t>‹#›</a:t>
            </a:fld>
            <a:endParaRPr lang="cs-CZ" sz="1600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CE0616E-D07D-44B5-B022-13A207D514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3523" y="6570000"/>
            <a:ext cx="6826944" cy="30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733" b="1">
                <a:solidFill>
                  <a:srgbClr val="40404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cs-CZ"/>
              <a:t>© Ipsos | pro ČMSS_Měření zpětné vazby | Únor 2020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744599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5B30A896-754B-4496-9697-A65ECA3A1DD8}"/>
              </a:ext>
            </a:extLst>
          </p:cNvPr>
          <p:cNvSpPr/>
          <p:nvPr userDrawn="1"/>
        </p:nvSpPr>
        <p:spPr>
          <a:xfrm>
            <a:off x="0" y="0"/>
            <a:ext cx="4175787" cy="6858000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667" dirty="0" err="1">
              <a:solidFill>
                <a:srgbClr val="003399"/>
              </a:solidFill>
              <a:latin typeface="Calibri" pitchFamily="34" charset="0"/>
            </a:endParaRPr>
          </a:p>
        </p:txBody>
      </p:sp>
      <p:sp>
        <p:nvSpPr>
          <p:cNvPr id="4" name="Zástupný symbol pro číslo snímku 5">
            <a:extLst>
              <a:ext uri="{FF2B5EF4-FFF2-40B4-BE49-F238E27FC236}">
                <a16:creationId xmlns:a16="http://schemas.microsoft.com/office/drawing/2014/main" id="{A9698CC9-5661-4205-B58C-23A28AD532AA}"/>
              </a:ext>
            </a:extLst>
          </p:cNvPr>
          <p:cNvSpPr txBox="1">
            <a:spLocks/>
          </p:cNvSpPr>
          <p:nvPr userDrawn="1"/>
        </p:nvSpPr>
        <p:spPr>
          <a:xfrm>
            <a:off x="-12824" y="6545664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>
                    <a:lumMod val="95000"/>
                  </a:schemeClr>
                </a:solidFill>
              </a:rPr>
              <a:pPr/>
              <a:t>‹#›</a:t>
            </a:fld>
            <a:endParaRPr lang="cs-CZ" sz="16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6923038-1DA6-4B07-AF17-DB0C3F4ABF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3523" y="6570000"/>
            <a:ext cx="6826944" cy="30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733" b="1">
                <a:solidFill>
                  <a:schemeClr val="bg1">
                    <a:lumMod val="9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cs-CZ"/>
              <a:t>© Ipsos | pro ČMSS_Měření zpětné vazby | Únor 2020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37123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hap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BD9ECF6-37B6-477F-B746-54CAAD9AF9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840275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GB" dirty="0"/>
          </a:p>
        </p:txBody>
      </p:sp>
      <p:sp>
        <p:nvSpPr>
          <p:cNvPr id="11" name="Espace réservé du texte 11">
            <a:extLst>
              <a:ext uri="{FF2B5EF4-FFF2-40B4-BE49-F238E27FC236}">
                <a16:creationId xmlns:a16="http://schemas.microsoft.com/office/drawing/2014/main" id="{0C4D3036-8ECE-4179-A12A-C026ACF3BC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293791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6888"/>
              </a:spcBef>
              <a:buNone/>
              <a:defRPr sz="28699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6" name="Forme libre : forme 12">
            <a:extLst>
              <a:ext uri="{FF2B5EF4-FFF2-40B4-BE49-F238E27FC236}">
                <a16:creationId xmlns:a16="http://schemas.microsoft.com/office/drawing/2014/main" id="{205BD723-D061-4616-984C-0CD7519FCDB8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 dirty="0"/>
          </a:p>
        </p:txBody>
      </p:sp>
      <p:sp>
        <p:nvSpPr>
          <p:cNvPr id="8" name="Forme libre : forme 13">
            <a:extLst>
              <a:ext uri="{FF2B5EF4-FFF2-40B4-BE49-F238E27FC236}">
                <a16:creationId xmlns:a16="http://schemas.microsoft.com/office/drawing/2014/main" id="{4190C1DC-A51F-478B-968C-050C62D5E9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 dirty="0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2D1A3439-75DD-48EB-A441-C113E87CB0B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372" y="459717"/>
            <a:ext cx="8402757" cy="707886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960"/>
              </a:spcBef>
              <a:buNone/>
              <a:defRPr sz="40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SLIDE TITLE</a:t>
            </a:r>
            <a:endParaRPr lang="en-GB" dirty="0"/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B55BBE8C-D3A5-4128-985D-382E03F9B7A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489392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Freeform 49"/>
          <p:cNvSpPr>
            <a:spLocks/>
          </p:cNvSpPr>
          <p:nvPr userDrawn="1"/>
        </p:nvSpPr>
        <p:spPr bwMode="ltGray">
          <a:xfrm>
            <a:off x="143095" y="1060"/>
            <a:ext cx="11239387" cy="6855841"/>
          </a:xfrm>
          <a:custGeom>
            <a:avLst/>
            <a:gdLst>
              <a:gd name="T0" fmla="*/ 3262 w 6320"/>
              <a:gd name="T1" fmla="*/ 4762 h 4762"/>
              <a:gd name="T2" fmla="*/ 0 w 6320"/>
              <a:gd name="T3" fmla="*/ 4762 h 4762"/>
              <a:gd name="T4" fmla="*/ 0 w 6320"/>
              <a:gd name="T5" fmla="*/ 0 h 4762"/>
              <a:gd name="T6" fmla="*/ 6320 w 6320"/>
              <a:gd name="T7" fmla="*/ 0 h 4762"/>
              <a:gd name="T8" fmla="*/ 3262 w 6320"/>
              <a:gd name="T9" fmla="*/ 4762 h 47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320" h="4762">
                <a:moveTo>
                  <a:pt x="3262" y="4762"/>
                </a:moveTo>
                <a:lnTo>
                  <a:pt x="0" y="4762"/>
                </a:lnTo>
                <a:lnTo>
                  <a:pt x="0" y="0"/>
                </a:lnTo>
                <a:lnTo>
                  <a:pt x="6320" y="0"/>
                </a:lnTo>
                <a:lnTo>
                  <a:pt x="3262" y="476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81180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</a:endParaRPr>
          </a:p>
        </p:txBody>
      </p:sp>
      <p:sp>
        <p:nvSpPr>
          <p:cNvPr id="73" name="Arc 3"/>
          <p:cNvSpPr/>
          <p:nvPr userDrawn="1"/>
        </p:nvSpPr>
        <p:spPr>
          <a:xfrm>
            <a:off x="1" y="1"/>
            <a:ext cx="2368551" cy="5668963"/>
          </a:xfrm>
          <a:custGeom>
            <a:avLst/>
            <a:gdLst/>
            <a:ahLst/>
            <a:cxnLst/>
            <a:rect l="l" t="t" r="r" b="b"/>
            <a:pathLst>
              <a:path w="1777200" h="5668420">
                <a:moveTo>
                  <a:pt x="0" y="0"/>
                </a:moveTo>
                <a:lnTo>
                  <a:pt x="1768724" y="0"/>
                </a:lnTo>
                <a:cubicBezTo>
                  <a:pt x="1842864" y="1684551"/>
                  <a:pt x="1430582" y="3384278"/>
                  <a:pt x="535352" y="4882011"/>
                </a:cubicBezTo>
                <a:cubicBezTo>
                  <a:pt x="371375" y="5156347"/>
                  <a:pt x="193756" y="5419621"/>
                  <a:pt x="0" y="5668420"/>
                </a:cubicBezTo>
                <a:close/>
              </a:path>
            </a:pathLst>
          </a:cu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0" cap="none" spc="0" normalizeH="0" baseline="0" noProof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74" name="Group 4"/>
          <p:cNvGrpSpPr>
            <a:grpSpLocks noChangeAspect="1"/>
          </p:cNvGrpSpPr>
          <p:nvPr userDrawn="1"/>
        </p:nvGrpSpPr>
        <p:grpSpPr bwMode="auto">
          <a:xfrm>
            <a:off x="508000" y="508001"/>
            <a:ext cx="1439333" cy="1291167"/>
            <a:chOff x="1352" y="681"/>
            <a:chExt cx="3519" cy="3153"/>
          </a:xfrm>
        </p:grpSpPr>
        <p:sp>
          <p:nvSpPr>
            <p:cNvPr id="75" name="Freeform 5"/>
            <p:cNvSpPr>
              <a:spLocks noChangeAspect="1"/>
            </p:cNvSpPr>
            <p:nvPr/>
          </p:nvSpPr>
          <p:spPr bwMode="auto">
            <a:xfrm>
              <a:off x="1352" y="681"/>
              <a:ext cx="3519" cy="3153"/>
            </a:xfrm>
            <a:custGeom>
              <a:avLst/>
              <a:gdLst>
                <a:gd name="T0" fmla="*/ 0 w 3862"/>
                <a:gd name="T1" fmla="*/ 215 h 3449"/>
                <a:gd name="T2" fmla="*/ 0 w 3862"/>
                <a:gd name="T3" fmla="*/ 215 h 3449"/>
                <a:gd name="T4" fmla="*/ 0 w 3862"/>
                <a:gd name="T5" fmla="*/ 0 h 3449"/>
                <a:gd name="T6" fmla="*/ 207 w 3862"/>
                <a:gd name="T7" fmla="*/ 0 h 3449"/>
                <a:gd name="T8" fmla="*/ 186 w 3862"/>
                <a:gd name="T9" fmla="*/ 215 h 3449"/>
                <a:gd name="T10" fmla="*/ 0 w 3862"/>
                <a:gd name="T11" fmla="*/ 215 h 344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862"/>
                <a:gd name="T19" fmla="*/ 0 h 3449"/>
                <a:gd name="T20" fmla="*/ 3862 w 3862"/>
                <a:gd name="T21" fmla="*/ 3449 h 344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862" h="3449">
                  <a:moveTo>
                    <a:pt x="0" y="3449"/>
                  </a:moveTo>
                  <a:lnTo>
                    <a:pt x="0" y="3449"/>
                  </a:lnTo>
                  <a:lnTo>
                    <a:pt x="0" y="0"/>
                  </a:lnTo>
                  <a:lnTo>
                    <a:pt x="3696" y="0"/>
                  </a:lnTo>
                  <a:cubicBezTo>
                    <a:pt x="3862" y="1150"/>
                    <a:pt x="3797" y="2241"/>
                    <a:pt x="3327" y="3449"/>
                  </a:cubicBezTo>
                  <a:lnTo>
                    <a:pt x="0" y="3449"/>
                  </a:lnTo>
                  <a:close/>
                </a:path>
              </a:pathLst>
            </a:custGeom>
            <a:solidFill>
              <a:srgbClr val="009D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76" name="Freeform 6"/>
            <p:cNvSpPr>
              <a:spLocks noChangeAspect="1"/>
            </p:cNvSpPr>
            <p:nvPr/>
          </p:nvSpPr>
          <p:spPr bwMode="auto">
            <a:xfrm>
              <a:off x="2708" y="1843"/>
              <a:ext cx="75" cy="54"/>
            </a:xfrm>
            <a:custGeom>
              <a:avLst/>
              <a:gdLst>
                <a:gd name="T0" fmla="*/ 6 w 81"/>
                <a:gd name="T1" fmla="*/ 2 h 66"/>
                <a:gd name="T2" fmla="*/ 6 w 81"/>
                <a:gd name="T3" fmla="*/ 2 h 66"/>
                <a:gd name="T4" fmla="*/ 0 w 81"/>
                <a:gd name="T5" fmla="*/ 2 h 66"/>
                <a:gd name="T6" fmla="*/ 6 w 81"/>
                <a:gd name="T7" fmla="*/ 2 h 66"/>
                <a:gd name="T8" fmla="*/ 7 w 81"/>
                <a:gd name="T9" fmla="*/ 0 h 66"/>
                <a:gd name="T10" fmla="*/ 6 w 81"/>
                <a:gd name="T11" fmla="*/ 2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1"/>
                <a:gd name="T19" fmla="*/ 0 h 66"/>
                <a:gd name="T20" fmla="*/ 81 w 81"/>
                <a:gd name="T21" fmla="*/ 66 h 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1" h="66">
                  <a:moveTo>
                    <a:pt x="16" y="40"/>
                  </a:moveTo>
                  <a:lnTo>
                    <a:pt x="16" y="40"/>
                  </a:lnTo>
                  <a:lnTo>
                    <a:pt x="0" y="54"/>
                  </a:lnTo>
                  <a:cubicBezTo>
                    <a:pt x="35" y="66"/>
                    <a:pt x="72" y="42"/>
                    <a:pt x="79" y="22"/>
                  </a:cubicBezTo>
                  <a:lnTo>
                    <a:pt x="81" y="0"/>
                  </a:lnTo>
                  <a:cubicBezTo>
                    <a:pt x="54" y="6"/>
                    <a:pt x="27" y="19"/>
                    <a:pt x="16" y="4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77" name="Freeform 7"/>
            <p:cNvSpPr>
              <a:spLocks noChangeAspect="1"/>
            </p:cNvSpPr>
            <p:nvPr/>
          </p:nvSpPr>
          <p:spPr bwMode="auto">
            <a:xfrm>
              <a:off x="2869" y="1972"/>
              <a:ext cx="65" cy="54"/>
            </a:xfrm>
            <a:custGeom>
              <a:avLst/>
              <a:gdLst>
                <a:gd name="T0" fmla="*/ 2 w 81"/>
                <a:gd name="T1" fmla="*/ 1 h 63"/>
                <a:gd name="T2" fmla="*/ 2 w 81"/>
                <a:gd name="T3" fmla="*/ 1 h 63"/>
                <a:gd name="T4" fmla="*/ 0 w 81"/>
                <a:gd name="T5" fmla="*/ 0 h 63"/>
                <a:gd name="T6" fmla="*/ 2 w 81"/>
                <a:gd name="T7" fmla="*/ 3 h 63"/>
                <a:gd name="T8" fmla="*/ 2 w 81"/>
                <a:gd name="T9" fmla="*/ 3 h 63"/>
                <a:gd name="T10" fmla="*/ 2 w 81"/>
                <a:gd name="T11" fmla="*/ 1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1"/>
                <a:gd name="T19" fmla="*/ 0 h 63"/>
                <a:gd name="T20" fmla="*/ 81 w 81"/>
                <a:gd name="T21" fmla="*/ 63 h 6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1" h="63">
                  <a:moveTo>
                    <a:pt x="27" y="1"/>
                  </a:moveTo>
                  <a:lnTo>
                    <a:pt x="27" y="1"/>
                  </a:lnTo>
                  <a:lnTo>
                    <a:pt x="0" y="0"/>
                  </a:lnTo>
                  <a:cubicBezTo>
                    <a:pt x="0" y="24"/>
                    <a:pt x="8" y="43"/>
                    <a:pt x="33" y="58"/>
                  </a:cubicBezTo>
                  <a:lnTo>
                    <a:pt x="53" y="63"/>
                  </a:lnTo>
                  <a:cubicBezTo>
                    <a:pt x="81" y="39"/>
                    <a:pt x="44" y="15"/>
                    <a:pt x="27" y="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78" name="Freeform 8"/>
            <p:cNvSpPr>
              <a:spLocks noChangeAspect="1"/>
            </p:cNvSpPr>
            <p:nvPr/>
          </p:nvSpPr>
          <p:spPr bwMode="auto">
            <a:xfrm>
              <a:off x="2622" y="1413"/>
              <a:ext cx="86" cy="75"/>
            </a:xfrm>
            <a:custGeom>
              <a:avLst/>
              <a:gdLst>
                <a:gd name="T0" fmla="*/ 4 w 96"/>
                <a:gd name="T1" fmla="*/ 9 h 79"/>
                <a:gd name="T2" fmla="*/ 4 w 96"/>
                <a:gd name="T3" fmla="*/ 9 h 79"/>
                <a:gd name="T4" fmla="*/ 0 w 96"/>
                <a:gd name="T5" fmla="*/ 13 h 79"/>
                <a:gd name="T6" fmla="*/ 4 w 96"/>
                <a:gd name="T7" fmla="*/ 9 h 79"/>
                <a:gd name="T8" fmla="*/ 4 w 96"/>
                <a:gd name="T9" fmla="*/ 0 h 79"/>
                <a:gd name="T10" fmla="*/ 4 w 96"/>
                <a:gd name="T11" fmla="*/ 9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6"/>
                <a:gd name="T19" fmla="*/ 0 h 79"/>
                <a:gd name="T20" fmla="*/ 96 w 96"/>
                <a:gd name="T21" fmla="*/ 79 h 7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6" h="79">
                  <a:moveTo>
                    <a:pt x="20" y="50"/>
                  </a:moveTo>
                  <a:lnTo>
                    <a:pt x="20" y="50"/>
                  </a:lnTo>
                  <a:lnTo>
                    <a:pt x="0" y="64"/>
                  </a:lnTo>
                  <a:cubicBezTo>
                    <a:pt x="41" y="79"/>
                    <a:pt x="75" y="57"/>
                    <a:pt x="89" y="27"/>
                  </a:cubicBezTo>
                  <a:lnTo>
                    <a:pt x="96" y="0"/>
                  </a:lnTo>
                  <a:cubicBezTo>
                    <a:pt x="63" y="8"/>
                    <a:pt x="38" y="8"/>
                    <a:pt x="20" y="50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79" name="Freeform 9"/>
            <p:cNvSpPr>
              <a:spLocks noChangeAspect="1"/>
            </p:cNvSpPr>
            <p:nvPr/>
          </p:nvSpPr>
          <p:spPr bwMode="auto">
            <a:xfrm>
              <a:off x="2568" y="1563"/>
              <a:ext cx="75" cy="76"/>
            </a:xfrm>
            <a:custGeom>
              <a:avLst/>
              <a:gdLst>
                <a:gd name="T0" fmla="*/ 36 w 77"/>
                <a:gd name="T1" fmla="*/ 22 h 77"/>
                <a:gd name="T2" fmla="*/ 36 w 77"/>
                <a:gd name="T3" fmla="*/ 22 h 77"/>
                <a:gd name="T4" fmla="*/ 33 w 77"/>
                <a:gd name="T5" fmla="*/ 0 h 77"/>
                <a:gd name="T6" fmla="*/ 0 w 77"/>
                <a:gd name="T7" fmla="*/ 38 h 77"/>
                <a:gd name="T8" fmla="*/ 0 w 77"/>
                <a:gd name="T9" fmla="*/ 38 h 77"/>
                <a:gd name="T10" fmla="*/ 36 w 77"/>
                <a:gd name="T11" fmla="*/ 22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7"/>
                <a:gd name="T19" fmla="*/ 0 h 77"/>
                <a:gd name="T20" fmla="*/ 77 w 77"/>
                <a:gd name="T21" fmla="*/ 77 h 7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7" h="77">
                  <a:moveTo>
                    <a:pt x="77" y="22"/>
                  </a:moveTo>
                  <a:lnTo>
                    <a:pt x="77" y="22"/>
                  </a:lnTo>
                  <a:lnTo>
                    <a:pt x="71" y="0"/>
                  </a:lnTo>
                  <a:cubicBezTo>
                    <a:pt x="38" y="7"/>
                    <a:pt x="14" y="19"/>
                    <a:pt x="0" y="44"/>
                  </a:cubicBezTo>
                  <a:lnTo>
                    <a:pt x="0" y="62"/>
                  </a:lnTo>
                  <a:cubicBezTo>
                    <a:pt x="42" y="77"/>
                    <a:pt x="64" y="40"/>
                    <a:pt x="77" y="2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80" name="Freeform 10"/>
            <p:cNvSpPr>
              <a:spLocks noChangeAspect="1"/>
            </p:cNvSpPr>
            <p:nvPr/>
          </p:nvSpPr>
          <p:spPr bwMode="auto">
            <a:xfrm>
              <a:off x="2547" y="1725"/>
              <a:ext cx="86" cy="64"/>
            </a:xfrm>
            <a:custGeom>
              <a:avLst/>
              <a:gdLst>
                <a:gd name="T0" fmla="*/ 0 w 90"/>
                <a:gd name="T1" fmla="*/ 3 h 74"/>
                <a:gd name="T2" fmla="*/ 0 w 90"/>
                <a:gd name="T3" fmla="*/ 3 h 74"/>
                <a:gd name="T4" fmla="*/ 11 w 90"/>
                <a:gd name="T5" fmla="*/ 3 h 74"/>
                <a:gd name="T6" fmla="*/ 19 w 90"/>
                <a:gd name="T7" fmla="*/ 3 h 74"/>
                <a:gd name="T8" fmla="*/ 23 w 90"/>
                <a:gd name="T9" fmla="*/ 3 h 74"/>
                <a:gd name="T10" fmla="*/ 0 w 90"/>
                <a:gd name="T11" fmla="*/ 3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0"/>
                <a:gd name="T19" fmla="*/ 0 h 74"/>
                <a:gd name="T20" fmla="*/ 90 w 90"/>
                <a:gd name="T21" fmla="*/ 74 h 7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0" h="74">
                  <a:moveTo>
                    <a:pt x="0" y="52"/>
                  </a:moveTo>
                  <a:lnTo>
                    <a:pt x="0" y="52"/>
                  </a:lnTo>
                  <a:lnTo>
                    <a:pt x="14" y="60"/>
                  </a:lnTo>
                  <a:cubicBezTo>
                    <a:pt x="59" y="74"/>
                    <a:pt x="62" y="38"/>
                    <a:pt x="73" y="23"/>
                  </a:cubicBezTo>
                  <a:lnTo>
                    <a:pt x="90" y="8"/>
                  </a:lnTo>
                  <a:cubicBezTo>
                    <a:pt x="48" y="0"/>
                    <a:pt x="11" y="31"/>
                    <a:pt x="0" y="52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97" name="Freeform 11"/>
            <p:cNvSpPr>
              <a:spLocks noChangeAspect="1"/>
            </p:cNvSpPr>
            <p:nvPr/>
          </p:nvSpPr>
          <p:spPr bwMode="auto">
            <a:xfrm>
              <a:off x="2773" y="1176"/>
              <a:ext cx="86" cy="75"/>
            </a:xfrm>
            <a:custGeom>
              <a:avLst/>
              <a:gdLst>
                <a:gd name="T0" fmla="*/ 16 w 88"/>
                <a:gd name="T1" fmla="*/ 4 h 72"/>
                <a:gd name="T2" fmla="*/ 16 w 88"/>
                <a:gd name="T3" fmla="*/ 4 h 72"/>
                <a:gd name="T4" fmla="*/ 0 w 88"/>
                <a:gd name="T5" fmla="*/ 28 h 72"/>
                <a:gd name="T6" fmla="*/ 45 w 88"/>
                <a:gd name="T7" fmla="*/ 172 h 72"/>
                <a:gd name="T8" fmla="*/ 46 w 88"/>
                <a:gd name="T9" fmla="*/ 74 h 72"/>
                <a:gd name="T10" fmla="*/ 16 w 88"/>
                <a:gd name="T11" fmla="*/ 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8"/>
                <a:gd name="T19" fmla="*/ 0 h 72"/>
                <a:gd name="T20" fmla="*/ 88 w 88"/>
                <a:gd name="T21" fmla="*/ 72 h 7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8" h="72">
                  <a:moveTo>
                    <a:pt x="16" y="4"/>
                  </a:moveTo>
                  <a:lnTo>
                    <a:pt x="16" y="4"/>
                  </a:lnTo>
                  <a:lnTo>
                    <a:pt x="0" y="12"/>
                  </a:lnTo>
                  <a:cubicBezTo>
                    <a:pt x="4" y="40"/>
                    <a:pt x="70" y="72"/>
                    <a:pt x="86" y="49"/>
                  </a:cubicBezTo>
                  <a:lnTo>
                    <a:pt x="88" y="22"/>
                  </a:lnTo>
                  <a:cubicBezTo>
                    <a:pt x="67" y="8"/>
                    <a:pt x="45" y="0"/>
                    <a:pt x="16" y="4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98" name="Freeform 12"/>
            <p:cNvSpPr>
              <a:spLocks noChangeAspect="1"/>
            </p:cNvSpPr>
            <p:nvPr/>
          </p:nvSpPr>
          <p:spPr bwMode="auto">
            <a:xfrm>
              <a:off x="2955" y="1111"/>
              <a:ext cx="76" cy="87"/>
            </a:xfrm>
            <a:custGeom>
              <a:avLst/>
              <a:gdLst>
                <a:gd name="T0" fmla="*/ 4 w 86"/>
                <a:gd name="T1" fmla="*/ 7 h 92"/>
                <a:gd name="T2" fmla="*/ 4 w 86"/>
                <a:gd name="T3" fmla="*/ 7 h 92"/>
                <a:gd name="T4" fmla="*/ 4 w 86"/>
                <a:gd name="T5" fmla="*/ 0 h 92"/>
                <a:gd name="T6" fmla="*/ 4 w 86"/>
                <a:gd name="T7" fmla="*/ 11 h 92"/>
                <a:gd name="T8" fmla="*/ 4 w 86"/>
                <a:gd name="T9" fmla="*/ 17 h 92"/>
                <a:gd name="T10" fmla="*/ 4 w 86"/>
                <a:gd name="T11" fmla="*/ 7 h 9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6"/>
                <a:gd name="T19" fmla="*/ 0 h 92"/>
                <a:gd name="T20" fmla="*/ 86 w 86"/>
                <a:gd name="T21" fmla="*/ 92 h 9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6" h="92">
                  <a:moveTo>
                    <a:pt x="46" y="7"/>
                  </a:moveTo>
                  <a:lnTo>
                    <a:pt x="46" y="7"/>
                  </a:lnTo>
                  <a:lnTo>
                    <a:pt x="21" y="0"/>
                  </a:lnTo>
                  <a:cubicBezTo>
                    <a:pt x="7" y="19"/>
                    <a:pt x="0" y="33"/>
                    <a:pt x="14" y="66"/>
                  </a:cubicBezTo>
                  <a:lnTo>
                    <a:pt x="27" y="92"/>
                  </a:lnTo>
                  <a:cubicBezTo>
                    <a:pt x="57" y="63"/>
                    <a:pt x="86" y="36"/>
                    <a:pt x="46" y="7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99" name="Freeform 13"/>
            <p:cNvSpPr>
              <a:spLocks noChangeAspect="1" noEditPoints="1"/>
            </p:cNvSpPr>
            <p:nvPr/>
          </p:nvSpPr>
          <p:spPr bwMode="auto">
            <a:xfrm>
              <a:off x="3149" y="929"/>
              <a:ext cx="667" cy="1678"/>
            </a:xfrm>
            <a:custGeom>
              <a:avLst/>
              <a:gdLst>
                <a:gd name="T0" fmla="*/ 36 w 724"/>
                <a:gd name="T1" fmla="*/ 43 h 1845"/>
                <a:gd name="T2" fmla="*/ 36 w 724"/>
                <a:gd name="T3" fmla="*/ 43 h 1845"/>
                <a:gd name="T4" fmla="*/ 26 w 724"/>
                <a:gd name="T5" fmla="*/ 41 h 1845"/>
                <a:gd name="T6" fmla="*/ 38 w 724"/>
                <a:gd name="T7" fmla="*/ 39 h 1845"/>
                <a:gd name="T8" fmla="*/ 39 w 724"/>
                <a:gd name="T9" fmla="*/ 41 h 1845"/>
                <a:gd name="T10" fmla="*/ 36 w 724"/>
                <a:gd name="T11" fmla="*/ 43 h 1845"/>
                <a:gd name="T12" fmla="*/ 36 w 724"/>
                <a:gd name="T13" fmla="*/ 43 h 1845"/>
                <a:gd name="T14" fmla="*/ 50 w 724"/>
                <a:gd name="T15" fmla="*/ 45 h 1845"/>
                <a:gd name="T16" fmla="*/ 50 w 724"/>
                <a:gd name="T17" fmla="*/ 45 h 1845"/>
                <a:gd name="T18" fmla="*/ 46 w 724"/>
                <a:gd name="T19" fmla="*/ 37 h 1845"/>
                <a:gd name="T20" fmla="*/ 50 w 724"/>
                <a:gd name="T21" fmla="*/ 34 h 1845"/>
                <a:gd name="T22" fmla="*/ 50 w 724"/>
                <a:gd name="T23" fmla="*/ 25 h 1845"/>
                <a:gd name="T24" fmla="*/ 50 w 724"/>
                <a:gd name="T25" fmla="*/ 24 h 1845"/>
                <a:gd name="T26" fmla="*/ 50 w 724"/>
                <a:gd name="T27" fmla="*/ 22 h 1845"/>
                <a:gd name="T28" fmla="*/ 49 w 724"/>
                <a:gd name="T29" fmla="*/ 18 h 1845"/>
                <a:gd name="T30" fmla="*/ 46 w 724"/>
                <a:gd name="T31" fmla="*/ 15 h 1845"/>
                <a:gd name="T32" fmla="*/ 47 w 724"/>
                <a:gd name="T33" fmla="*/ 14 h 1845"/>
                <a:gd name="T34" fmla="*/ 44 w 724"/>
                <a:gd name="T35" fmla="*/ 13 h 1845"/>
                <a:gd name="T36" fmla="*/ 41 w 724"/>
                <a:gd name="T37" fmla="*/ 12 h 1845"/>
                <a:gd name="T38" fmla="*/ 41 w 724"/>
                <a:gd name="T39" fmla="*/ 10 h 1845"/>
                <a:gd name="T40" fmla="*/ 38 w 724"/>
                <a:gd name="T41" fmla="*/ 11 h 1845"/>
                <a:gd name="T42" fmla="*/ 38 w 724"/>
                <a:gd name="T43" fmla="*/ 8 h 1845"/>
                <a:gd name="T44" fmla="*/ 34 w 724"/>
                <a:gd name="T45" fmla="*/ 9 h 1845"/>
                <a:gd name="T46" fmla="*/ 32 w 724"/>
                <a:gd name="T47" fmla="*/ 5 h 1845"/>
                <a:gd name="T48" fmla="*/ 30 w 724"/>
                <a:gd name="T49" fmla="*/ 6 h 1845"/>
                <a:gd name="T50" fmla="*/ 28 w 724"/>
                <a:gd name="T51" fmla="*/ 8 h 1845"/>
                <a:gd name="T52" fmla="*/ 28 w 724"/>
                <a:gd name="T53" fmla="*/ 5 h 1845"/>
                <a:gd name="T54" fmla="*/ 27 w 724"/>
                <a:gd name="T55" fmla="*/ 5 h 1845"/>
                <a:gd name="T56" fmla="*/ 25 w 724"/>
                <a:gd name="T57" fmla="*/ 5 h 1845"/>
                <a:gd name="T58" fmla="*/ 22 w 724"/>
                <a:gd name="T59" fmla="*/ 5 h 1845"/>
                <a:gd name="T60" fmla="*/ 23 w 724"/>
                <a:gd name="T61" fmla="*/ 5 h 1845"/>
                <a:gd name="T62" fmla="*/ 19 w 724"/>
                <a:gd name="T63" fmla="*/ 5 h 1845"/>
                <a:gd name="T64" fmla="*/ 17 w 724"/>
                <a:gd name="T65" fmla="*/ 5 h 1845"/>
                <a:gd name="T66" fmla="*/ 21 w 724"/>
                <a:gd name="T67" fmla="*/ 5 h 1845"/>
                <a:gd name="T68" fmla="*/ 17 w 724"/>
                <a:gd name="T69" fmla="*/ 5 h 1845"/>
                <a:gd name="T70" fmla="*/ 14 w 724"/>
                <a:gd name="T71" fmla="*/ 5 h 1845"/>
                <a:gd name="T72" fmla="*/ 15 w 724"/>
                <a:gd name="T73" fmla="*/ 5 h 1845"/>
                <a:gd name="T74" fmla="*/ 14 w 724"/>
                <a:gd name="T75" fmla="*/ 5 h 1845"/>
                <a:gd name="T76" fmla="*/ 14 w 724"/>
                <a:gd name="T77" fmla="*/ 5 h 1845"/>
                <a:gd name="T78" fmla="*/ 12 w 724"/>
                <a:gd name="T79" fmla="*/ 5 h 1845"/>
                <a:gd name="T80" fmla="*/ 11 w 724"/>
                <a:gd name="T81" fmla="*/ 5 h 1845"/>
                <a:gd name="T82" fmla="*/ 6 w 724"/>
                <a:gd name="T83" fmla="*/ 5 h 1845"/>
                <a:gd name="T84" fmla="*/ 6 w 724"/>
                <a:gd name="T85" fmla="*/ 5 h 1845"/>
                <a:gd name="T86" fmla="*/ 6 w 724"/>
                <a:gd name="T87" fmla="*/ 5 h 1845"/>
                <a:gd name="T88" fmla="*/ 5 w 724"/>
                <a:gd name="T89" fmla="*/ 96 h 1845"/>
                <a:gd name="T90" fmla="*/ 0 w 724"/>
                <a:gd name="T91" fmla="*/ 96 h 1845"/>
                <a:gd name="T92" fmla="*/ 14 w 724"/>
                <a:gd name="T93" fmla="*/ 96 h 1845"/>
                <a:gd name="T94" fmla="*/ 42 w 724"/>
                <a:gd name="T95" fmla="*/ 96 h 1845"/>
                <a:gd name="T96" fmla="*/ 49 w 724"/>
                <a:gd name="T97" fmla="*/ 96 h 1845"/>
                <a:gd name="T98" fmla="*/ 33 w 724"/>
                <a:gd name="T99" fmla="*/ 95 h 1845"/>
                <a:gd name="T100" fmla="*/ 21 w 724"/>
                <a:gd name="T101" fmla="*/ 87 h 1845"/>
                <a:gd name="T102" fmla="*/ 18 w 724"/>
                <a:gd name="T103" fmla="*/ 84 h 1845"/>
                <a:gd name="T104" fmla="*/ 18 w 724"/>
                <a:gd name="T105" fmla="*/ 76 h 1845"/>
                <a:gd name="T106" fmla="*/ 25 w 724"/>
                <a:gd name="T107" fmla="*/ 74 h 1845"/>
                <a:gd name="T108" fmla="*/ 46 w 724"/>
                <a:gd name="T109" fmla="*/ 72 h 1845"/>
                <a:gd name="T110" fmla="*/ 47 w 724"/>
                <a:gd name="T111" fmla="*/ 68 h 1845"/>
                <a:gd name="T112" fmla="*/ 48 w 724"/>
                <a:gd name="T113" fmla="*/ 65 h 1845"/>
                <a:gd name="T114" fmla="*/ 50 w 724"/>
                <a:gd name="T115" fmla="*/ 62 h 1845"/>
                <a:gd name="T116" fmla="*/ 46 w 724"/>
                <a:gd name="T117" fmla="*/ 59 h 1845"/>
                <a:gd name="T118" fmla="*/ 50 w 724"/>
                <a:gd name="T119" fmla="*/ 57 h 1845"/>
                <a:gd name="T120" fmla="*/ 49 w 724"/>
                <a:gd name="T121" fmla="*/ 54 h 1845"/>
                <a:gd name="T122" fmla="*/ 54 w 724"/>
                <a:gd name="T123" fmla="*/ 50 h 1845"/>
                <a:gd name="T124" fmla="*/ 50 w 724"/>
                <a:gd name="T125" fmla="*/ 45 h 184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24"/>
                <a:gd name="T190" fmla="*/ 0 h 1845"/>
                <a:gd name="T191" fmla="*/ 724 w 724"/>
                <a:gd name="T192" fmla="*/ 1845 h 184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24" h="1845">
                  <a:moveTo>
                    <a:pt x="451" y="808"/>
                  </a:moveTo>
                  <a:lnTo>
                    <a:pt x="451" y="808"/>
                  </a:lnTo>
                  <a:cubicBezTo>
                    <a:pt x="397" y="820"/>
                    <a:pt x="315" y="783"/>
                    <a:pt x="326" y="776"/>
                  </a:cubicBezTo>
                  <a:cubicBezTo>
                    <a:pt x="353" y="757"/>
                    <a:pt x="416" y="725"/>
                    <a:pt x="477" y="746"/>
                  </a:cubicBezTo>
                  <a:cubicBezTo>
                    <a:pt x="488" y="750"/>
                    <a:pt x="492" y="760"/>
                    <a:pt x="493" y="773"/>
                  </a:cubicBezTo>
                  <a:cubicBezTo>
                    <a:pt x="496" y="804"/>
                    <a:pt x="471" y="805"/>
                    <a:pt x="451" y="808"/>
                  </a:cubicBezTo>
                  <a:close/>
                  <a:moveTo>
                    <a:pt x="639" y="841"/>
                  </a:moveTo>
                  <a:lnTo>
                    <a:pt x="639" y="841"/>
                  </a:lnTo>
                  <a:cubicBezTo>
                    <a:pt x="610" y="803"/>
                    <a:pt x="557" y="751"/>
                    <a:pt x="601" y="701"/>
                  </a:cubicBezTo>
                  <a:cubicBezTo>
                    <a:pt x="624" y="684"/>
                    <a:pt x="631" y="670"/>
                    <a:pt x="634" y="646"/>
                  </a:cubicBezTo>
                  <a:cubicBezTo>
                    <a:pt x="644" y="560"/>
                    <a:pt x="639" y="524"/>
                    <a:pt x="627" y="477"/>
                  </a:cubicBezTo>
                  <a:cubicBezTo>
                    <a:pt x="629" y="473"/>
                    <a:pt x="638" y="478"/>
                    <a:pt x="641" y="463"/>
                  </a:cubicBezTo>
                  <a:cubicBezTo>
                    <a:pt x="650" y="422"/>
                    <a:pt x="627" y="414"/>
                    <a:pt x="627" y="414"/>
                  </a:cubicBezTo>
                  <a:cubicBezTo>
                    <a:pt x="645" y="399"/>
                    <a:pt x="643" y="342"/>
                    <a:pt x="615" y="342"/>
                  </a:cubicBezTo>
                  <a:cubicBezTo>
                    <a:pt x="631" y="317"/>
                    <a:pt x="617" y="277"/>
                    <a:pt x="590" y="286"/>
                  </a:cubicBezTo>
                  <a:cubicBezTo>
                    <a:pt x="590" y="286"/>
                    <a:pt x="604" y="278"/>
                    <a:pt x="602" y="260"/>
                  </a:cubicBezTo>
                  <a:cubicBezTo>
                    <a:pt x="599" y="224"/>
                    <a:pt x="547" y="259"/>
                    <a:pt x="560" y="236"/>
                  </a:cubicBezTo>
                  <a:cubicBezTo>
                    <a:pt x="567" y="223"/>
                    <a:pt x="538" y="180"/>
                    <a:pt x="523" y="213"/>
                  </a:cubicBezTo>
                  <a:cubicBezTo>
                    <a:pt x="515" y="207"/>
                    <a:pt x="529" y="187"/>
                    <a:pt x="514" y="180"/>
                  </a:cubicBezTo>
                  <a:cubicBezTo>
                    <a:pt x="504" y="181"/>
                    <a:pt x="495" y="188"/>
                    <a:pt x="483" y="195"/>
                  </a:cubicBezTo>
                  <a:cubicBezTo>
                    <a:pt x="479" y="181"/>
                    <a:pt x="494" y="174"/>
                    <a:pt x="476" y="154"/>
                  </a:cubicBezTo>
                  <a:cubicBezTo>
                    <a:pt x="452" y="138"/>
                    <a:pt x="451" y="162"/>
                    <a:pt x="434" y="171"/>
                  </a:cubicBezTo>
                  <a:cubicBezTo>
                    <a:pt x="404" y="164"/>
                    <a:pt x="476" y="146"/>
                    <a:pt x="411" y="119"/>
                  </a:cubicBezTo>
                  <a:cubicBezTo>
                    <a:pt x="395" y="159"/>
                    <a:pt x="396" y="130"/>
                    <a:pt x="389" y="124"/>
                  </a:cubicBezTo>
                  <a:cubicBezTo>
                    <a:pt x="384" y="121"/>
                    <a:pt x="375" y="131"/>
                    <a:pt x="356" y="150"/>
                  </a:cubicBezTo>
                  <a:cubicBezTo>
                    <a:pt x="366" y="124"/>
                    <a:pt x="388" y="92"/>
                    <a:pt x="356" y="101"/>
                  </a:cubicBezTo>
                  <a:cubicBezTo>
                    <a:pt x="320" y="117"/>
                    <a:pt x="341" y="96"/>
                    <a:pt x="341" y="93"/>
                  </a:cubicBezTo>
                  <a:cubicBezTo>
                    <a:pt x="372" y="79"/>
                    <a:pt x="312" y="45"/>
                    <a:pt x="314" y="81"/>
                  </a:cubicBezTo>
                  <a:cubicBezTo>
                    <a:pt x="313" y="105"/>
                    <a:pt x="261" y="126"/>
                    <a:pt x="276" y="97"/>
                  </a:cubicBezTo>
                  <a:cubicBezTo>
                    <a:pt x="286" y="60"/>
                    <a:pt x="331" y="116"/>
                    <a:pt x="292" y="51"/>
                  </a:cubicBezTo>
                  <a:cubicBezTo>
                    <a:pt x="268" y="78"/>
                    <a:pt x="248" y="96"/>
                    <a:pt x="244" y="106"/>
                  </a:cubicBezTo>
                  <a:cubicBezTo>
                    <a:pt x="225" y="181"/>
                    <a:pt x="236" y="113"/>
                    <a:pt x="216" y="112"/>
                  </a:cubicBezTo>
                  <a:cubicBezTo>
                    <a:pt x="242" y="94"/>
                    <a:pt x="276" y="63"/>
                    <a:pt x="266" y="43"/>
                  </a:cubicBezTo>
                  <a:cubicBezTo>
                    <a:pt x="237" y="41"/>
                    <a:pt x="172" y="87"/>
                    <a:pt x="214" y="91"/>
                  </a:cubicBezTo>
                  <a:cubicBezTo>
                    <a:pt x="211" y="106"/>
                    <a:pt x="187" y="123"/>
                    <a:pt x="173" y="98"/>
                  </a:cubicBezTo>
                  <a:cubicBezTo>
                    <a:pt x="196" y="92"/>
                    <a:pt x="235" y="15"/>
                    <a:pt x="186" y="38"/>
                  </a:cubicBezTo>
                  <a:cubicBezTo>
                    <a:pt x="181" y="42"/>
                    <a:pt x="181" y="56"/>
                    <a:pt x="173" y="69"/>
                  </a:cubicBezTo>
                  <a:cubicBezTo>
                    <a:pt x="161" y="58"/>
                    <a:pt x="170" y="42"/>
                    <a:pt x="166" y="36"/>
                  </a:cubicBezTo>
                  <a:cubicBezTo>
                    <a:pt x="127" y="0"/>
                    <a:pt x="141" y="93"/>
                    <a:pt x="142" y="114"/>
                  </a:cubicBezTo>
                  <a:cubicBezTo>
                    <a:pt x="92" y="82"/>
                    <a:pt x="139" y="91"/>
                    <a:pt x="126" y="39"/>
                  </a:cubicBezTo>
                  <a:cubicBezTo>
                    <a:pt x="84" y="47"/>
                    <a:pt x="73" y="64"/>
                    <a:pt x="80" y="112"/>
                  </a:cubicBezTo>
                  <a:cubicBezTo>
                    <a:pt x="74" y="123"/>
                    <a:pt x="63" y="149"/>
                    <a:pt x="56" y="117"/>
                  </a:cubicBezTo>
                  <a:cubicBezTo>
                    <a:pt x="79" y="87"/>
                    <a:pt x="77" y="44"/>
                    <a:pt x="37" y="43"/>
                  </a:cubicBezTo>
                  <a:cubicBezTo>
                    <a:pt x="101" y="631"/>
                    <a:pt x="97" y="1225"/>
                    <a:pt x="5" y="1808"/>
                  </a:cubicBezTo>
                  <a:lnTo>
                    <a:pt x="0" y="1840"/>
                  </a:lnTo>
                  <a:cubicBezTo>
                    <a:pt x="46" y="1839"/>
                    <a:pt x="113" y="1825"/>
                    <a:pt x="162" y="1823"/>
                  </a:cubicBezTo>
                  <a:cubicBezTo>
                    <a:pt x="301" y="1827"/>
                    <a:pt x="298" y="1845"/>
                    <a:pt x="529" y="1842"/>
                  </a:cubicBezTo>
                  <a:cubicBezTo>
                    <a:pt x="582" y="1837"/>
                    <a:pt x="597" y="1829"/>
                    <a:pt x="614" y="1829"/>
                  </a:cubicBezTo>
                  <a:cubicBezTo>
                    <a:pt x="597" y="1758"/>
                    <a:pt x="481" y="1798"/>
                    <a:pt x="421" y="1778"/>
                  </a:cubicBezTo>
                  <a:cubicBezTo>
                    <a:pt x="321" y="1768"/>
                    <a:pt x="304" y="1708"/>
                    <a:pt x="272" y="1664"/>
                  </a:cubicBezTo>
                  <a:cubicBezTo>
                    <a:pt x="258" y="1639"/>
                    <a:pt x="237" y="1608"/>
                    <a:pt x="237" y="1566"/>
                  </a:cubicBezTo>
                  <a:cubicBezTo>
                    <a:pt x="230" y="1513"/>
                    <a:pt x="240" y="1484"/>
                    <a:pt x="239" y="1432"/>
                  </a:cubicBezTo>
                  <a:cubicBezTo>
                    <a:pt x="243" y="1393"/>
                    <a:pt x="287" y="1401"/>
                    <a:pt x="315" y="1404"/>
                  </a:cubicBezTo>
                  <a:cubicBezTo>
                    <a:pt x="402" y="1413"/>
                    <a:pt x="547" y="1399"/>
                    <a:pt x="586" y="1387"/>
                  </a:cubicBezTo>
                  <a:cubicBezTo>
                    <a:pt x="641" y="1371"/>
                    <a:pt x="642" y="1337"/>
                    <a:pt x="605" y="1286"/>
                  </a:cubicBezTo>
                  <a:cubicBezTo>
                    <a:pt x="597" y="1261"/>
                    <a:pt x="598" y="1245"/>
                    <a:pt x="609" y="1223"/>
                  </a:cubicBezTo>
                  <a:cubicBezTo>
                    <a:pt x="625" y="1206"/>
                    <a:pt x="644" y="1195"/>
                    <a:pt x="630" y="1174"/>
                  </a:cubicBezTo>
                  <a:cubicBezTo>
                    <a:pt x="630" y="1174"/>
                    <a:pt x="504" y="1147"/>
                    <a:pt x="590" y="1133"/>
                  </a:cubicBezTo>
                  <a:cubicBezTo>
                    <a:pt x="679" y="1118"/>
                    <a:pt x="650" y="1082"/>
                    <a:pt x="650" y="1082"/>
                  </a:cubicBezTo>
                  <a:cubicBezTo>
                    <a:pt x="650" y="1082"/>
                    <a:pt x="635" y="1045"/>
                    <a:pt x="621" y="1018"/>
                  </a:cubicBezTo>
                  <a:cubicBezTo>
                    <a:pt x="611" y="998"/>
                    <a:pt x="695" y="991"/>
                    <a:pt x="704" y="959"/>
                  </a:cubicBezTo>
                  <a:cubicBezTo>
                    <a:pt x="724" y="932"/>
                    <a:pt x="661" y="871"/>
                    <a:pt x="639" y="841"/>
                  </a:cubicBez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00" name="Freeform 14"/>
            <p:cNvSpPr>
              <a:spLocks noChangeAspect="1"/>
            </p:cNvSpPr>
            <p:nvPr/>
          </p:nvSpPr>
          <p:spPr bwMode="auto">
            <a:xfrm>
              <a:off x="1352" y="681"/>
              <a:ext cx="1829" cy="3153"/>
            </a:xfrm>
            <a:custGeom>
              <a:avLst/>
              <a:gdLst>
                <a:gd name="T0" fmla="*/ 106 w 2011"/>
                <a:gd name="T1" fmla="*/ 131 h 3449"/>
                <a:gd name="T2" fmla="*/ 0 w 2011"/>
                <a:gd name="T3" fmla="*/ 215 h 3449"/>
                <a:gd name="T4" fmla="*/ 105 w 2011"/>
                <a:gd name="T5" fmla="*/ 0 h 3449"/>
                <a:gd name="T6" fmla="*/ 106 w 2011"/>
                <a:gd name="T7" fmla="*/ 22 h 3449"/>
                <a:gd name="T8" fmla="*/ 106 w 2011"/>
                <a:gd name="T9" fmla="*/ 24 h 3449"/>
                <a:gd name="T10" fmla="*/ 101 w 2011"/>
                <a:gd name="T11" fmla="*/ 20 h 3449"/>
                <a:gd name="T12" fmla="*/ 100 w 2011"/>
                <a:gd name="T13" fmla="*/ 24 h 3449"/>
                <a:gd name="T14" fmla="*/ 98 w 2011"/>
                <a:gd name="T15" fmla="*/ 26 h 3449"/>
                <a:gd name="T16" fmla="*/ 96 w 2011"/>
                <a:gd name="T17" fmla="*/ 22 h 3449"/>
                <a:gd name="T18" fmla="*/ 94 w 2011"/>
                <a:gd name="T19" fmla="*/ 22 h 3449"/>
                <a:gd name="T20" fmla="*/ 91 w 2011"/>
                <a:gd name="T21" fmla="*/ 31 h 3449"/>
                <a:gd name="T22" fmla="*/ 87 w 2011"/>
                <a:gd name="T23" fmla="*/ 26 h 3449"/>
                <a:gd name="T24" fmla="*/ 85 w 2011"/>
                <a:gd name="T25" fmla="*/ 26 h 3449"/>
                <a:gd name="T26" fmla="*/ 86 w 2011"/>
                <a:gd name="T27" fmla="*/ 31 h 3449"/>
                <a:gd name="T28" fmla="*/ 79 w 2011"/>
                <a:gd name="T29" fmla="*/ 31 h 3449"/>
                <a:gd name="T30" fmla="*/ 79 w 2011"/>
                <a:gd name="T31" fmla="*/ 34 h 3449"/>
                <a:gd name="T32" fmla="*/ 75 w 2011"/>
                <a:gd name="T33" fmla="*/ 31 h 3449"/>
                <a:gd name="T34" fmla="*/ 79 w 2011"/>
                <a:gd name="T35" fmla="*/ 36 h 3449"/>
                <a:gd name="T36" fmla="*/ 77 w 2011"/>
                <a:gd name="T37" fmla="*/ 37 h 3449"/>
                <a:gd name="T38" fmla="*/ 76 w 2011"/>
                <a:gd name="T39" fmla="*/ 37 h 3449"/>
                <a:gd name="T40" fmla="*/ 74 w 2011"/>
                <a:gd name="T41" fmla="*/ 40 h 3449"/>
                <a:gd name="T42" fmla="*/ 76 w 2011"/>
                <a:gd name="T43" fmla="*/ 39 h 3449"/>
                <a:gd name="T44" fmla="*/ 76 w 2011"/>
                <a:gd name="T45" fmla="*/ 44 h 3449"/>
                <a:gd name="T46" fmla="*/ 73 w 2011"/>
                <a:gd name="T47" fmla="*/ 45 h 3449"/>
                <a:gd name="T48" fmla="*/ 75 w 2011"/>
                <a:gd name="T49" fmla="*/ 49 h 3449"/>
                <a:gd name="T50" fmla="*/ 70 w 2011"/>
                <a:gd name="T51" fmla="*/ 47 h 3449"/>
                <a:gd name="T52" fmla="*/ 65 w 2011"/>
                <a:gd name="T53" fmla="*/ 47 h 3449"/>
                <a:gd name="T54" fmla="*/ 64 w 2011"/>
                <a:gd name="T55" fmla="*/ 51 h 3449"/>
                <a:gd name="T56" fmla="*/ 71 w 2011"/>
                <a:gd name="T57" fmla="*/ 53 h 3449"/>
                <a:gd name="T58" fmla="*/ 69 w 2011"/>
                <a:gd name="T59" fmla="*/ 54 h 3449"/>
                <a:gd name="T60" fmla="*/ 69 w 2011"/>
                <a:gd name="T61" fmla="*/ 59 h 3449"/>
                <a:gd name="T62" fmla="*/ 72 w 2011"/>
                <a:gd name="T63" fmla="*/ 59 h 3449"/>
                <a:gd name="T64" fmla="*/ 69 w 2011"/>
                <a:gd name="T65" fmla="*/ 65 h 3449"/>
                <a:gd name="T66" fmla="*/ 70 w 2011"/>
                <a:gd name="T67" fmla="*/ 69 h 3449"/>
                <a:gd name="T68" fmla="*/ 68 w 2011"/>
                <a:gd name="T69" fmla="*/ 73 h 3449"/>
                <a:gd name="T70" fmla="*/ 65 w 2011"/>
                <a:gd name="T71" fmla="*/ 77 h 3449"/>
                <a:gd name="T72" fmla="*/ 68 w 2011"/>
                <a:gd name="T73" fmla="*/ 78 h 3449"/>
                <a:gd name="T74" fmla="*/ 69 w 2011"/>
                <a:gd name="T75" fmla="*/ 81 h 3449"/>
                <a:gd name="T76" fmla="*/ 72 w 2011"/>
                <a:gd name="T77" fmla="*/ 85 h 3449"/>
                <a:gd name="T78" fmla="*/ 76 w 2011"/>
                <a:gd name="T79" fmla="*/ 88 h 3449"/>
                <a:gd name="T80" fmla="*/ 79 w 2011"/>
                <a:gd name="T81" fmla="*/ 85 h 3449"/>
                <a:gd name="T82" fmla="*/ 79 w 2011"/>
                <a:gd name="T83" fmla="*/ 92 h 3449"/>
                <a:gd name="T84" fmla="*/ 85 w 2011"/>
                <a:gd name="T85" fmla="*/ 92 h 3449"/>
                <a:gd name="T86" fmla="*/ 84 w 2011"/>
                <a:gd name="T87" fmla="*/ 93 h 3449"/>
                <a:gd name="T88" fmla="*/ 86 w 2011"/>
                <a:gd name="T89" fmla="*/ 96 h 3449"/>
                <a:gd name="T90" fmla="*/ 87 w 2011"/>
                <a:gd name="T91" fmla="*/ 100 h 3449"/>
                <a:gd name="T92" fmla="*/ 89 w 2011"/>
                <a:gd name="T93" fmla="*/ 99 h 3449"/>
                <a:gd name="T94" fmla="*/ 92 w 2011"/>
                <a:gd name="T95" fmla="*/ 94 h 3449"/>
                <a:gd name="T96" fmla="*/ 95 w 2011"/>
                <a:gd name="T97" fmla="*/ 98 h 3449"/>
                <a:gd name="T98" fmla="*/ 96 w 2011"/>
                <a:gd name="T99" fmla="*/ 105 h 3449"/>
                <a:gd name="T100" fmla="*/ 99 w 2011"/>
                <a:gd name="T101" fmla="*/ 105 h 3449"/>
                <a:gd name="T102" fmla="*/ 96 w 2011"/>
                <a:gd name="T103" fmla="*/ 115 h 3449"/>
                <a:gd name="T104" fmla="*/ 76 w 2011"/>
                <a:gd name="T105" fmla="*/ 129 h 3449"/>
                <a:gd name="T106" fmla="*/ 87 w 2011"/>
                <a:gd name="T107" fmla="*/ 131 h 3449"/>
                <a:gd name="T108" fmla="*/ 106 w 2011"/>
                <a:gd name="T109" fmla="*/ 131 h 344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011"/>
                <a:gd name="T166" fmla="*/ 0 h 3449"/>
                <a:gd name="T167" fmla="*/ 2011 w 2011"/>
                <a:gd name="T168" fmla="*/ 3449 h 344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011" h="3449">
                  <a:moveTo>
                    <a:pt x="1974" y="2106"/>
                  </a:moveTo>
                  <a:lnTo>
                    <a:pt x="1974" y="2106"/>
                  </a:lnTo>
                  <a:cubicBezTo>
                    <a:pt x="1903" y="2543"/>
                    <a:pt x="1782" y="2987"/>
                    <a:pt x="1602" y="3449"/>
                  </a:cubicBezTo>
                  <a:lnTo>
                    <a:pt x="0" y="3449"/>
                  </a:lnTo>
                  <a:lnTo>
                    <a:pt x="0" y="0"/>
                  </a:lnTo>
                  <a:lnTo>
                    <a:pt x="1972" y="0"/>
                  </a:lnTo>
                  <a:cubicBezTo>
                    <a:pt x="1988" y="113"/>
                    <a:pt x="1999" y="197"/>
                    <a:pt x="2011" y="309"/>
                  </a:cubicBezTo>
                  <a:cubicBezTo>
                    <a:pt x="2011" y="309"/>
                    <a:pt x="1977" y="320"/>
                    <a:pt x="1980" y="347"/>
                  </a:cubicBezTo>
                  <a:cubicBezTo>
                    <a:pt x="1984" y="378"/>
                    <a:pt x="1997" y="385"/>
                    <a:pt x="1997" y="385"/>
                  </a:cubicBezTo>
                  <a:lnTo>
                    <a:pt x="1982" y="392"/>
                  </a:lnTo>
                  <a:cubicBezTo>
                    <a:pt x="1982" y="392"/>
                    <a:pt x="1966" y="368"/>
                    <a:pt x="1966" y="369"/>
                  </a:cubicBezTo>
                  <a:cubicBezTo>
                    <a:pt x="1966" y="346"/>
                    <a:pt x="1976" y="311"/>
                    <a:pt x="1923" y="324"/>
                  </a:cubicBezTo>
                  <a:cubicBezTo>
                    <a:pt x="1904" y="365"/>
                    <a:pt x="1952" y="373"/>
                    <a:pt x="1939" y="401"/>
                  </a:cubicBezTo>
                  <a:cubicBezTo>
                    <a:pt x="1883" y="404"/>
                    <a:pt x="1923" y="359"/>
                    <a:pt x="1878" y="384"/>
                  </a:cubicBezTo>
                  <a:cubicBezTo>
                    <a:pt x="1881" y="371"/>
                    <a:pt x="1871" y="336"/>
                    <a:pt x="1857" y="339"/>
                  </a:cubicBezTo>
                  <a:cubicBezTo>
                    <a:pt x="1851" y="358"/>
                    <a:pt x="1836" y="391"/>
                    <a:pt x="1858" y="411"/>
                  </a:cubicBezTo>
                  <a:cubicBezTo>
                    <a:pt x="1851" y="416"/>
                    <a:pt x="1830" y="413"/>
                    <a:pt x="1825" y="406"/>
                  </a:cubicBezTo>
                  <a:cubicBezTo>
                    <a:pt x="1819" y="396"/>
                    <a:pt x="1840" y="379"/>
                    <a:pt x="1823" y="348"/>
                  </a:cubicBezTo>
                  <a:cubicBezTo>
                    <a:pt x="1771" y="371"/>
                    <a:pt x="1819" y="421"/>
                    <a:pt x="1776" y="440"/>
                  </a:cubicBezTo>
                  <a:cubicBezTo>
                    <a:pt x="1729" y="434"/>
                    <a:pt x="1803" y="394"/>
                    <a:pt x="1766" y="359"/>
                  </a:cubicBezTo>
                  <a:cubicBezTo>
                    <a:pt x="1723" y="369"/>
                    <a:pt x="1707" y="413"/>
                    <a:pt x="1724" y="439"/>
                  </a:cubicBezTo>
                  <a:cubicBezTo>
                    <a:pt x="1723" y="462"/>
                    <a:pt x="1705" y="474"/>
                    <a:pt x="1702" y="494"/>
                  </a:cubicBezTo>
                  <a:cubicBezTo>
                    <a:pt x="1681" y="491"/>
                    <a:pt x="1672" y="483"/>
                    <a:pt x="1670" y="475"/>
                  </a:cubicBezTo>
                  <a:cubicBezTo>
                    <a:pt x="1667" y="460"/>
                    <a:pt x="1708" y="453"/>
                    <a:pt x="1680" y="420"/>
                  </a:cubicBezTo>
                  <a:cubicBezTo>
                    <a:pt x="1635" y="427"/>
                    <a:pt x="1665" y="500"/>
                    <a:pt x="1629" y="461"/>
                  </a:cubicBezTo>
                  <a:cubicBezTo>
                    <a:pt x="1626" y="444"/>
                    <a:pt x="1614" y="429"/>
                    <a:pt x="1605" y="427"/>
                  </a:cubicBezTo>
                  <a:cubicBezTo>
                    <a:pt x="1588" y="439"/>
                    <a:pt x="1580" y="459"/>
                    <a:pt x="1591" y="476"/>
                  </a:cubicBezTo>
                  <a:lnTo>
                    <a:pt x="1609" y="499"/>
                  </a:lnTo>
                  <a:cubicBezTo>
                    <a:pt x="1607" y="499"/>
                    <a:pt x="1617" y="513"/>
                    <a:pt x="1615" y="512"/>
                  </a:cubicBezTo>
                  <a:cubicBezTo>
                    <a:pt x="1585" y="488"/>
                    <a:pt x="1545" y="471"/>
                    <a:pt x="1520" y="498"/>
                  </a:cubicBezTo>
                  <a:cubicBezTo>
                    <a:pt x="1523" y="523"/>
                    <a:pt x="1545" y="525"/>
                    <a:pt x="1579" y="533"/>
                  </a:cubicBezTo>
                  <a:cubicBezTo>
                    <a:pt x="1536" y="537"/>
                    <a:pt x="1527" y="552"/>
                    <a:pt x="1513" y="560"/>
                  </a:cubicBezTo>
                  <a:cubicBezTo>
                    <a:pt x="1508" y="532"/>
                    <a:pt x="1475" y="527"/>
                    <a:pt x="1444" y="523"/>
                  </a:cubicBezTo>
                  <a:cubicBezTo>
                    <a:pt x="1426" y="527"/>
                    <a:pt x="1415" y="515"/>
                    <a:pt x="1407" y="521"/>
                  </a:cubicBezTo>
                  <a:cubicBezTo>
                    <a:pt x="1420" y="553"/>
                    <a:pt x="1451" y="578"/>
                    <a:pt x="1490" y="586"/>
                  </a:cubicBezTo>
                  <a:cubicBezTo>
                    <a:pt x="1507" y="584"/>
                    <a:pt x="1509" y="584"/>
                    <a:pt x="1521" y="578"/>
                  </a:cubicBezTo>
                  <a:cubicBezTo>
                    <a:pt x="1544" y="588"/>
                    <a:pt x="1542" y="592"/>
                    <a:pt x="1548" y="608"/>
                  </a:cubicBezTo>
                  <a:cubicBezTo>
                    <a:pt x="1514" y="623"/>
                    <a:pt x="1487" y="604"/>
                    <a:pt x="1453" y="612"/>
                  </a:cubicBezTo>
                  <a:cubicBezTo>
                    <a:pt x="1453" y="614"/>
                    <a:pt x="1445" y="614"/>
                    <a:pt x="1444" y="611"/>
                  </a:cubicBezTo>
                  <a:cubicBezTo>
                    <a:pt x="1445" y="611"/>
                    <a:pt x="1440" y="603"/>
                    <a:pt x="1441" y="603"/>
                  </a:cubicBezTo>
                  <a:cubicBezTo>
                    <a:pt x="1426" y="575"/>
                    <a:pt x="1387" y="586"/>
                    <a:pt x="1366" y="592"/>
                  </a:cubicBezTo>
                  <a:cubicBezTo>
                    <a:pt x="1363" y="614"/>
                    <a:pt x="1386" y="632"/>
                    <a:pt x="1404" y="640"/>
                  </a:cubicBezTo>
                  <a:cubicBezTo>
                    <a:pt x="1429" y="649"/>
                    <a:pt x="1438" y="641"/>
                    <a:pt x="1438" y="641"/>
                  </a:cubicBezTo>
                  <a:lnTo>
                    <a:pt x="1448" y="632"/>
                  </a:lnTo>
                  <a:cubicBezTo>
                    <a:pt x="1459" y="672"/>
                    <a:pt x="1473" y="674"/>
                    <a:pt x="1494" y="690"/>
                  </a:cubicBezTo>
                  <a:cubicBezTo>
                    <a:pt x="1471" y="698"/>
                    <a:pt x="1462" y="705"/>
                    <a:pt x="1433" y="703"/>
                  </a:cubicBezTo>
                  <a:cubicBezTo>
                    <a:pt x="1400" y="652"/>
                    <a:pt x="1301" y="630"/>
                    <a:pt x="1305" y="654"/>
                  </a:cubicBezTo>
                  <a:cubicBezTo>
                    <a:pt x="1319" y="706"/>
                    <a:pt x="1392" y="719"/>
                    <a:pt x="1392" y="719"/>
                  </a:cubicBezTo>
                  <a:cubicBezTo>
                    <a:pt x="1392" y="719"/>
                    <a:pt x="1354" y="733"/>
                    <a:pt x="1360" y="746"/>
                  </a:cubicBezTo>
                  <a:cubicBezTo>
                    <a:pt x="1367" y="758"/>
                    <a:pt x="1417" y="766"/>
                    <a:pt x="1410" y="785"/>
                  </a:cubicBezTo>
                  <a:cubicBezTo>
                    <a:pt x="1358" y="762"/>
                    <a:pt x="1348" y="771"/>
                    <a:pt x="1383" y="817"/>
                  </a:cubicBezTo>
                  <a:cubicBezTo>
                    <a:pt x="1339" y="819"/>
                    <a:pt x="1349" y="772"/>
                    <a:pt x="1321" y="761"/>
                  </a:cubicBezTo>
                  <a:cubicBezTo>
                    <a:pt x="1301" y="775"/>
                    <a:pt x="1313" y="806"/>
                    <a:pt x="1313" y="806"/>
                  </a:cubicBezTo>
                  <a:cubicBezTo>
                    <a:pt x="1303" y="798"/>
                    <a:pt x="1277" y="754"/>
                    <a:pt x="1255" y="760"/>
                  </a:cubicBezTo>
                  <a:cubicBezTo>
                    <a:pt x="1248" y="765"/>
                    <a:pt x="1248" y="789"/>
                    <a:pt x="1265" y="805"/>
                  </a:cubicBezTo>
                  <a:cubicBezTo>
                    <a:pt x="1244" y="809"/>
                    <a:pt x="1210" y="806"/>
                    <a:pt x="1205" y="829"/>
                  </a:cubicBezTo>
                  <a:cubicBezTo>
                    <a:pt x="1239" y="855"/>
                    <a:pt x="1276" y="855"/>
                    <a:pt x="1329" y="849"/>
                  </a:cubicBezTo>
                  <a:cubicBezTo>
                    <a:pt x="1329" y="849"/>
                    <a:pt x="1339" y="848"/>
                    <a:pt x="1350" y="845"/>
                  </a:cubicBezTo>
                  <a:cubicBezTo>
                    <a:pt x="1360" y="842"/>
                    <a:pt x="1375" y="856"/>
                    <a:pt x="1375" y="856"/>
                  </a:cubicBezTo>
                  <a:cubicBezTo>
                    <a:pt x="1349" y="862"/>
                    <a:pt x="1360" y="870"/>
                    <a:pt x="1308" y="881"/>
                  </a:cubicBezTo>
                  <a:cubicBezTo>
                    <a:pt x="1274" y="897"/>
                    <a:pt x="1247" y="918"/>
                    <a:pt x="1247" y="953"/>
                  </a:cubicBezTo>
                  <a:cubicBezTo>
                    <a:pt x="1268" y="963"/>
                    <a:pt x="1294" y="973"/>
                    <a:pt x="1308" y="953"/>
                  </a:cubicBezTo>
                  <a:cubicBezTo>
                    <a:pt x="1331" y="920"/>
                    <a:pt x="1324" y="946"/>
                    <a:pt x="1340" y="945"/>
                  </a:cubicBezTo>
                  <a:lnTo>
                    <a:pt x="1358" y="951"/>
                  </a:lnTo>
                  <a:cubicBezTo>
                    <a:pt x="1344" y="986"/>
                    <a:pt x="1264" y="985"/>
                    <a:pt x="1279" y="1011"/>
                  </a:cubicBezTo>
                  <a:cubicBezTo>
                    <a:pt x="1295" y="1035"/>
                    <a:pt x="1319" y="1061"/>
                    <a:pt x="1319" y="1061"/>
                  </a:cubicBezTo>
                  <a:cubicBezTo>
                    <a:pt x="1319" y="1061"/>
                    <a:pt x="1263" y="1032"/>
                    <a:pt x="1247" y="1053"/>
                  </a:cubicBezTo>
                  <a:cubicBezTo>
                    <a:pt x="1232" y="1071"/>
                    <a:pt x="1265" y="1102"/>
                    <a:pt x="1324" y="1115"/>
                  </a:cubicBezTo>
                  <a:cubicBezTo>
                    <a:pt x="1304" y="1128"/>
                    <a:pt x="1233" y="1115"/>
                    <a:pt x="1276" y="1160"/>
                  </a:cubicBezTo>
                  <a:cubicBezTo>
                    <a:pt x="1225" y="1181"/>
                    <a:pt x="1242" y="1196"/>
                    <a:pt x="1283" y="1185"/>
                  </a:cubicBezTo>
                  <a:lnTo>
                    <a:pt x="1303" y="1188"/>
                  </a:lnTo>
                  <a:cubicBezTo>
                    <a:pt x="1291" y="1196"/>
                    <a:pt x="1254" y="1213"/>
                    <a:pt x="1257" y="1226"/>
                  </a:cubicBezTo>
                  <a:cubicBezTo>
                    <a:pt x="1259" y="1243"/>
                    <a:pt x="1300" y="1222"/>
                    <a:pt x="1307" y="1235"/>
                  </a:cubicBezTo>
                  <a:cubicBezTo>
                    <a:pt x="1310" y="1254"/>
                    <a:pt x="1287" y="1262"/>
                    <a:pt x="1285" y="1267"/>
                  </a:cubicBezTo>
                  <a:cubicBezTo>
                    <a:pt x="1314" y="1286"/>
                    <a:pt x="1331" y="1241"/>
                    <a:pt x="1358" y="1267"/>
                  </a:cubicBezTo>
                  <a:cubicBezTo>
                    <a:pt x="1348" y="1286"/>
                    <a:pt x="1305" y="1282"/>
                    <a:pt x="1314" y="1311"/>
                  </a:cubicBezTo>
                  <a:cubicBezTo>
                    <a:pt x="1330" y="1323"/>
                    <a:pt x="1357" y="1318"/>
                    <a:pt x="1373" y="1329"/>
                  </a:cubicBezTo>
                  <a:cubicBezTo>
                    <a:pt x="1373" y="1329"/>
                    <a:pt x="1351" y="1371"/>
                    <a:pt x="1363" y="1376"/>
                  </a:cubicBezTo>
                  <a:cubicBezTo>
                    <a:pt x="1386" y="1388"/>
                    <a:pt x="1408" y="1351"/>
                    <a:pt x="1416" y="1349"/>
                  </a:cubicBezTo>
                  <a:cubicBezTo>
                    <a:pt x="1410" y="1396"/>
                    <a:pt x="1450" y="1380"/>
                    <a:pt x="1438" y="1413"/>
                  </a:cubicBezTo>
                  <a:cubicBezTo>
                    <a:pt x="1438" y="1430"/>
                    <a:pt x="1436" y="1454"/>
                    <a:pt x="1454" y="1463"/>
                  </a:cubicBezTo>
                  <a:cubicBezTo>
                    <a:pt x="1491" y="1452"/>
                    <a:pt x="1495" y="1423"/>
                    <a:pt x="1494" y="1379"/>
                  </a:cubicBezTo>
                  <a:cubicBezTo>
                    <a:pt x="1494" y="1364"/>
                    <a:pt x="1537" y="1389"/>
                    <a:pt x="1537" y="1389"/>
                  </a:cubicBezTo>
                  <a:cubicBezTo>
                    <a:pt x="1563" y="1410"/>
                    <a:pt x="1492" y="1426"/>
                    <a:pt x="1513" y="1471"/>
                  </a:cubicBezTo>
                  <a:cubicBezTo>
                    <a:pt x="1573" y="1479"/>
                    <a:pt x="1573" y="1428"/>
                    <a:pt x="1621" y="1419"/>
                  </a:cubicBezTo>
                  <a:cubicBezTo>
                    <a:pt x="1643" y="1433"/>
                    <a:pt x="1612" y="1457"/>
                    <a:pt x="1605" y="1474"/>
                  </a:cubicBezTo>
                  <a:cubicBezTo>
                    <a:pt x="1575" y="1491"/>
                    <a:pt x="1538" y="1471"/>
                    <a:pt x="1509" y="1530"/>
                  </a:cubicBezTo>
                  <a:cubicBezTo>
                    <a:pt x="1551" y="1546"/>
                    <a:pt x="1570" y="1533"/>
                    <a:pt x="1584" y="1525"/>
                  </a:cubicBezTo>
                  <a:cubicBezTo>
                    <a:pt x="1597" y="1516"/>
                    <a:pt x="1596" y="1511"/>
                    <a:pt x="1606" y="1507"/>
                  </a:cubicBezTo>
                  <a:cubicBezTo>
                    <a:pt x="1607" y="1523"/>
                    <a:pt x="1603" y="1553"/>
                    <a:pt x="1618" y="1559"/>
                  </a:cubicBezTo>
                  <a:cubicBezTo>
                    <a:pt x="1632" y="1558"/>
                    <a:pt x="1633" y="1553"/>
                    <a:pt x="1645" y="1546"/>
                  </a:cubicBezTo>
                  <a:cubicBezTo>
                    <a:pt x="1657" y="1558"/>
                    <a:pt x="1626" y="1589"/>
                    <a:pt x="1644" y="1602"/>
                  </a:cubicBezTo>
                  <a:cubicBezTo>
                    <a:pt x="1661" y="1599"/>
                    <a:pt x="1667" y="1583"/>
                    <a:pt x="1667" y="1583"/>
                  </a:cubicBezTo>
                  <a:cubicBezTo>
                    <a:pt x="1677" y="1597"/>
                    <a:pt x="1689" y="1597"/>
                    <a:pt x="1700" y="1594"/>
                  </a:cubicBezTo>
                  <a:cubicBezTo>
                    <a:pt x="1706" y="1579"/>
                    <a:pt x="1707" y="1545"/>
                    <a:pt x="1688" y="1533"/>
                  </a:cubicBezTo>
                  <a:cubicBezTo>
                    <a:pt x="1697" y="1522"/>
                    <a:pt x="1720" y="1543"/>
                    <a:pt x="1729" y="1535"/>
                  </a:cubicBezTo>
                  <a:cubicBezTo>
                    <a:pt x="1748" y="1557"/>
                    <a:pt x="1707" y="1600"/>
                    <a:pt x="1737" y="1618"/>
                  </a:cubicBezTo>
                  <a:cubicBezTo>
                    <a:pt x="1766" y="1615"/>
                    <a:pt x="1765" y="1586"/>
                    <a:pt x="1794" y="1574"/>
                  </a:cubicBezTo>
                  <a:cubicBezTo>
                    <a:pt x="1789" y="1604"/>
                    <a:pt x="1824" y="1626"/>
                    <a:pt x="1779" y="1648"/>
                  </a:cubicBezTo>
                  <a:cubicBezTo>
                    <a:pt x="1779" y="1677"/>
                    <a:pt x="1834" y="1669"/>
                    <a:pt x="1808" y="1711"/>
                  </a:cubicBezTo>
                  <a:cubicBezTo>
                    <a:pt x="1818" y="1728"/>
                    <a:pt x="1831" y="1721"/>
                    <a:pt x="1843" y="1718"/>
                  </a:cubicBezTo>
                  <a:lnTo>
                    <a:pt x="1870" y="1688"/>
                  </a:lnTo>
                  <a:cubicBezTo>
                    <a:pt x="1862" y="1712"/>
                    <a:pt x="1860" y="1750"/>
                    <a:pt x="1867" y="1777"/>
                  </a:cubicBezTo>
                  <a:cubicBezTo>
                    <a:pt x="1858" y="1800"/>
                    <a:pt x="1879" y="1825"/>
                    <a:pt x="1839" y="1844"/>
                  </a:cubicBezTo>
                  <a:cubicBezTo>
                    <a:pt x="1828" y="1900"/>
                    <a:pt x="1827" y="1956"/>
                    <a:pt x="1763" y="1992"/>
                  </a:cubicBezTo>
                  <a:cubicBezTo>
                    <a:pt x="1726" y="2060"/>
                    <a:pt x="1497" y="2024"/>
                    <a:pt x="1446" y="2092"/>
                  </a:cubicBezTo>
                  <a:cubicBezTo>
                    <a:pt x="1459" y="2104"/>
                    <a:pt x="1576" y="2100"/>
                    <a:pt x="1591" y="2096"/>
                  </a:cubicBezTo>
                  <a:cubicBezTo>
                    <a:pt x="1613" y="2085"/>
                    <a:pt x="1631" y="2104"/>
                    <a:pt x="1654" y="2103"/>
                  </a:cubicBezTo>
                  <a:cubicBezTo>
                    <a:pt x="1705" y="2103"/>
                    <a:pt x="1767" y="2086"/>
                    <a:pt x="1809" y="2103"/>
                  </a:cubicBezTo>
                  <a:cubicBezTo>
                    <a:pt x="1869" y="2103"/>
                    <a:pt x="1920" y="2105"/>
                    <a:pt x="1974" y="2105"/>
                  </a:cubicBezTo>
                  <a:lnTo>
                    <a:pt x="1974" y="2106"/>
                  </a:lnTo>
                  <a:close/>
                </a:path>
              </a:pathLst>
            </a:custGeom>
            <a:solidFill>
              <a:srgbClr val="2F46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01" name="Freeform 15"/>
            <p:cNvSpPr>
              <a:spLocks noChangeAspect="1" noEditPoints="1"/>
            </p:cNvSpPr>
            <p:nvPr/>
          </p:nvSpPr>
          <p:spPr bwMode="auto">
            <a:xfrm>
              <a:off x="3235" y="2758"/>
              <a:ext cx="581" cy="570"/>
            </a:xfrm>
            <a:custGeom>
              <a:avLst/>
              <a:gdLst>
                <a:gd name="T0" fmla="*/ 17 w 639"/>
                <a:gd name="T1" fmla="*/ 43 h 621"/>
                <a:gd name="T2" fmla="*/ 17 w 639"/>
                <a:gd name="T3" fmla="*/ 43 h 621"/>
                <a:gd name="T4" fmla="*/ 34 w 639"/>
                <a:gd name="T5" fmla="*/ 22 h 621"/>
                <a:gd name="T6" fmla="*/ 17 w 639"/>
                <a:gd name="T7" fmla="*/ 0 h 621"/>
                <a:gd name="T8" fmla="*/ 0 w 639"/>
                <a:gd name="T9" fmla="*/ 22 h 621"/>
                <a:gd name="T10" fmla="*/ 17 w 639"/>
                <a:gd name="T11" fmla="*/ 43 h 621"/>
                <a:gd name="T12" fmla="*/ 17 w 639"/>
                <a:gd name="T13" fmla="*/ 43 h 621"/>
                <a:gd name="T14" fmla="*/ 9 w 639"/>
                <a:gd name="T15" fmla="*/ 22 h 621"/>
                <a:gd name="T16" fmla="*/ 9 w 639"/>
                <a:gd name="T17" fmla="*/ 22 h 621"/>
                <a:gd name="T18" fmla="*/ 17 w 639"/>
                <a:gd name="T19" fmla="*/ 9 h 621"/>
                <a:gd name="T20" fmla="*/ 25 w 639"/>
                <a:gd name="T21" fmla="*/ 22 h 621"/>
                <a:gd name="T22" fmla="*/ 17 w 639"/>
                <a:gd name="T23" fmla="*/ 35 h 621"/>
                <a:gd name="T24" fmla="*/ 9 w 639"/>
                <a:gd name="T25" fmla="*/ 22 h 6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39"/>
                <a:gd name="T40" fmla="*/ 0 h 621"/>
                <a:gd name="T41" fmla="*/ 639 w 639"/>
                <a:gd name="T42" fmla="*/ 621 h 62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39" h="621">
                  <a:moveTo>
                    <a:pt x="321" y="621"/>
                  </a:moveTo>
                  <a:lnTo>
                    <a:pt x="321" y="621"/>
                  </a:lnTo>
                  <a:cubicBezTo>
                    <a:pt x="512" y="621"/>
                    <a:pt x="639" y="480"/>
                    <a:pt x="639" y="307"/>
                  </a:cubicBezTo>
                  <a:cubicBezTo>
                    <a:pt x="639" y="124"/>
                    <a:pt x="511" y="0"/>
                    <a:pt x="321" y="0"/>
                  </a:cubicBezTo>
                  <a:cubicBezTo>
                    <a:pt x="130" y="0"/>
                    <a:pt x="0" y="121"/>
                    <a:pt x="0" y="307"/>
                  </a:cubicBezTo>
                  <a:cubicBezTo>
                    <a:pt x="0" y="489"/>
                    <a:pt x="132" y="621"/>
                    <a:pt x="321" y="621"/>
                  </a:cubicBezTo>
                  <a:close/>
                  <a:moveTo>
                    <a:pt x="162" y="307"/>
                  </a:moveTo>
                  <a:lnTo>
                    <a:pt x="162" y="307"/>
                  </a:lnTo>
                  <a:cubicBezTo>
                    <a:pt x="162" y="198"/>
                    <a:pt x="214" y="125"/>
                    <a:pt x="321" y="125"/>
                  </a:cubicBezTo>
                  <a:cubicBezTo>
                    <a:pt x="425" y="125"/>
                    <a:pt x="477" y="192"/>
                    <a:pt x="477" y="307"/>
                  </a:cubicBezTo>
                  <a:cubicBezTo>
                    <a:pt x="477" y="413"/>
                    <a:pt x="426" y="495"/>
                    <a:pt x="321" y="495"/>
                  </a:cubicBezTo>
                  <a:cubicBezTo>
                    <a:pt x="220" y="495"/>
                    <a:pt x="162" y="415"/>
                    <a:pt x="162" y="30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02" name="Freeform 16"/>
            <p:cNvSpPr>
              <a:spLocks noChangeAspect="1"/>
            </p:cNvSpPr>
            <p:nvPr/>
          </p:nvSpPr>
          <p:spPr bwMode="auto">
            <a:xfrm>
              <a:off x="3892" y="2758"/>
              <a:ext cx="409" cy="570"/>
            </a:xfrm>
            <a:custGeom>
              <a:avLst/>
              <a:gdLst>
                <a:gd name="T0" fmla="*/ 36 w 441"/>
                <a:gd name="T1" fmla="*/ 10 h 621"/>
                <a:gd name="T2" fmla="*/ 36 w 441"/>
                <a:gd name="T3" fmla="*/ 10 h 621"/>
                <a:gd name="T4" fmla="*/ 27 w 441"/>
                <a:gd name="T5" fmla="*/ 8 h 621"/>
                <a:gd name="T6" fmla="*/ 16 w 441"/>
                <a:gd name="T7" fmla="*/ 12 h 621"/>
                <a:gd name="T8" fmla="*/ 29 w 441"/>
                <a:gd name="T9" fmla="*/ 18 h 621"/>
                <a:gd name="T10" fmla="*/ 43 w 441"/>
                <a:gd name="T11" fmla="*/ 30 h 621"/>
                <a:gd name="T12" fmla="*/ 18 w 441"/>
                <a:gd name="T13" fmla="*/ 43 h 621"/>
                <a:gd name="T14" fmla="*/ 6 w 441"/>
                <a:gd name="T15" fmla="*/ 42 h 621"/>
                <a:gd name="T16" fmla="*/ 6 w 441"/>
                <a:gd name="T17" fmla="*/ 33 h 621"/>
                <a:gd name="T18" fmla="*/ 19 w 441"/>
                <a:gd name="T19" fmla="*/ 36 h 621"/>
                <a:gd name="T20" fmla="*/ 27 w 441"/>
                <a:gd name="T21" fmla="*/ 31 h 621"/>
                <a:gd name="T22" fmla="*/ 15 w 441"/>
                <a:gd name="T23" fmla="*/ 25 h 621"/>
                <a:gd name="T24" fmla="*/ 0 w 441"/>
                <a:gd name="T25" fmla="*/ 12 h 621"/>
                <a:gd name="T26" fmla="*/ 24 w 441"/>
                <a:gd name="T27" fmla="*/ 0 h 621"/>
                <a:gd name="T28" fmla="*/ 36 w 441"/>
                <a:gd name="T29" fmla="*/ 6 h 621"/>
                <a:gd name="T30" fmla="*/ 36 w 441"/>
                <a:gd name="T31" fmla="*/ 10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1"/>
                <a:gd name="T49" fmla="*/ 0 h 621"/>
                <a:gd name="T50" fmla="*/ 441 w 441"/>
                <a:gd name="T51" fmla="*/ 621 h 6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1" h="621">
                  <a:moveTo>
                    <a:pt x="377" y="128"/>
                  </a:moveTo>
                  <a:lnTo>
                    <a:pt x="377" y="128"/>
                  </a:lnTo>
                  <a:cubicBezTo>
                    <a:pt x="341" y="122"/>
                    <a:pt x="306" y="114"/>
                    <a:pt x="270" y="114"/>
                  </a:cubicBezTo>
                  <a:cubicBezTo>
                    <a:pt x="207" y="114"/>
                    <a:pt x="163" y="129"/>
                    <a:pt x="163" y="160"/>
                  </a:cubicBezTo>
                  <a:cubicBezTo>
                    <a:pt x="163" y="195"/>
                    <a:pt x="223" y="224"/>
                    <a:pt x="290" y="260"/>
                  </a:cubicBezTo>
                  <a:cubicBezTo>
                    <a:pt x="353" y="294"/>
                    <a:pt x="441" y="340"/>
                    <a:pt x="441" y="443"/>
                  </a:cubicBezTo>
                  <a:cubicBezTo>
                    <a:pt x="441" y="557"/>
                    <a:pt x="340" y="621"/>
                    <a:pt x="187" y="621"/>
                  </a:cubicBezTo>
                  <a:cubicBezTo>
                    <a:pt x="117" y="621"/>
                    <a:pt x="69" y="607"/>
                    <a:pt x="11" y="594"/>
                  </a:cubicBezTo>
                  <a:lnTo>
                    <a:pt x="11" y="469"/>
                  </a:lnTo>
                  <a:cubicBezTo>
                    <a:pt x="56" y="482"/>
                    <a:pt x="128" y="506"/>
                    <a:pt x="193" y="506"/>
                  </a:cubicBezTo>
                  <a:cubicBezTo>
                    <a:pt x="236" y="506"/>
                    <a:pt x="279" y="487"/>
                    <a:pt x="279" y="448"/>
                  </a:cubicBezTo>
                  <a:cubicBezTo>
                    <a:pt x="279" y="412"/>
                    <a:pt x="227" y="391"/>
                    <a:pt x="153" y="349"/>
                  </a:cubicBezTo>
                  <a:cubicBezTo>
                    <a:pt x="86" y="316"/>
                    <a:pt x="0" y="247"/>
                    <a:pt x="0" y="160"/>
                  </a:cubicBezTo>
                  <a:cubicBezTo>
                    <a:pt x="0" y="57"/>
                    <a:pt x="104" y="0"/>
                    <a:pt x="243" y="0"/>
                  </a:cubicBezTo>
                  <a:cubicBezTo>
                    <a:pt x="288" y="0"/>
                    <a:pt x="333" y="4"/>
                    <a:pt x="377" y="10"/>
                  </a:cubicBezTo>
                  <a:lnTo>
                    <a:pt x="377" y="12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03" name="Freeform 17"/>
            <p:cNvSpPr>
              <a:spLocks noChangeAspect="1"/>
            </p:cNvSpPr>
            <p:nvPr/>
          </p:nvSpPr>
          <p:spPr bwMode="auto">
            <a:xfrm>
              <a:off x="1772" y="2564"/>
              <a:ext cx="215" cy="743"/>
            </a:xfrm>
            <a:custGeom>
              <a:avLst/>
              <a:gdLst>
                <a:gd name="T0" fmla="*/ 8 w 229"/>
                <a:gd name="T1" fmla="*/ 43 h 817"/>
                <a:gd name="T2" fmla="*/ 8 w 229"/>
                <a:gd name="T3" fmla="*/ 43 h 817"/>
                <a:gd name="T4" fmla="*/ 8 w 229"/>
                <a:gd name="T5" fmla="*/ 32 h 817"/>
                <a:gd name="T6" fmla="*/ 8 w 229"/>
                <a:gd name="T7" fmla="*/ 15 h 817"/>
                <a:gd name="T8" fmla="*/ 0 w 229"/>
                <a:gd name="T9" fmla="*/ 0 h 817"/>
                <a:gd name="T10" fmla="*/ 31 w 229"/>
                <a:gd name="T11" fmla="*/ 0 h 817"/>
                <a:gd name="T12" fmla="*/ 29 w 229"/>
                <a:gd name="T13" fmla="*/ 13 h 817"/>
                <a:gd name="T14" fmla="*/ 29 w 229"/>
                <a:gd name="T15" fmla="*/ 28 h 817"/>
                <a:gd name="T16" fmla="*/ 33 w 229"/>
                <a:gd name="T17" fmla="*/ 43 h 817"/>
                <a:gd name="T18" fmla="*/ 8 w 229"/>
                <a:gd name="T19" fmla="*/ 43 h 8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29"/>
                <a:gd name="T31" fmla="*/ 0 h 817"/>
                <a:gd name="T32" fmla="*/ 229 w 229"/>
                <a:gd name="T33" fmla="*/ 817 h 8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29" h="817">
                  <a:moveTo>
                    <a:pt x="18" y="817"/>
                  </a:moveTo>
                  <a:lnTo>
                    <a:pt x="18" y="817"/>
                  </a:lnTo>
                  <a:cubicBezTo>
                    <a:pt x="22" y="750"/>
                    <a:pt x="24" y="699"/>
                    <a:pt x="24" y="606"/>
                  </a:cubicBezTo>
                  <a:lnTo>
                    <a:pt x="24" y="287"/>
                  </a:lnTo>
                  <a:cubicBezTo>
                    <a:pt x="24" y="172"/>
                    <a:pt x="17" y="85"/>
                    <a:pt x="0" y="0"/>
                  </a:cubicBezTo>
                  <a:lnTo>
                    <a:pt x="211" y="0"/>
                  </a:lnTo>
                  <a:cubicBezTo>
                    <a:pt x="211" y="59"/>
                    <a:pt x="205" y="140"/>
                    <a:pt x="205" y="232"/>
                  </a:cubicBezTo>
                  <a:lnTo>
                    <a:pt x="205" y="530"/>
                  </a:lnTo>
                  <a:cubicBezTo>
                    <a:pt x="205" y="614"/>
                    <a:pt x="218" y="739"/>
                    <a:pt x="229" y="817"/>
                  </a:cubicBezTo>
                  <a:lnTo>
                    <a:pt x="18" y="8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04" name="Freeform 18"/>
            <p:cNvSpPr>
              <a:spLocks noChangeAspect="1" noEditPoints="1"/>
            </p:cNvSpPr>
            <p:nvPr/>
          </p:nvSpPr>
          <p:spPr bwMode="auto">
            <a:xfrm>
              <a:off x="2095" y="2758"/>
              <a:ext cx="602" cy="785"/>
            </a:xfrm>
            <a:custGeom>
              <a:avLst/>
              <a:gdLst>
                <a:gd name="T0" fmla="*/ 11 w 662"/>
                <a:gd name="T1" fmla="*/ 45 h 863"/>
                <a:gd name="T2" fmla="*/ 11 w 662"/>
                <a:gd name="T3" fmla="*/ 45 h 863"/>
                <a:gd name="T4" fmla="*/ 11 w 662"/>
                <a:gd name="T5" fmla="*/ 34 h 863"/>
                <a:gd name="T6" fmla="*/ 11 w 662"/>
                <a:gd name="T7" fmla="*/ 31 h 863"/>
                <a:gd name="T8" fmla="*/ 21 w 662"/>
                <a:gd name="T9" fmla="*/ 34 h 863"/>
                <a:gd name="T10" fmla="*/ 35 w 662"/>
                <a:gd name="T11" fmla="*/ 17 h 863"/>
                <a:gd name="T12" fmla="*/ 20 w 662"/>
                <a:gd name="T13" fmla="*/ 0 h 863"/>
                <a:gd name="T14" fmla="*/ 9 w 662"/>
                <a:gd name="T15" fmla="*/ 5 h 863"/>
                <a:gd name="T16" fmla="*/ 8 w 662"/>
                <a:gd name="T17" fmla="*/ 5 h 863"/>
                <a:gd name="T18" fmla="*/ 0 w 662"/>
                <a:gd name="T19" fmla="*/ 5 h 863"/>
                <a:gd name="T20" fmla="*/ 5 w 662"/>
                <a:gd name="T21" fmla="*/ 17 h 863"/>
                <a:gd name="T22" fmla="*/ 5 w 662"/>
                <a:gd name="T23" fmla="*/ 31 h 863"/>
                <a:gd name="T24" fmla="*/ 5 w 662"/>
                <a:gd name="T25" fmla="*/ 45 h 863"/>
                <a:gd name="T26" fmla="*/ 11 w 662"/>
                <a:gd name="T27" fmla="*/ 45 h 863"/>
                <a:gd name="T28" fmla="*/ 11 w 662"/>
                <a:gd name="T29" fmla="*/ 45 h 863"/>
                <a:gd name="T30" fmla="*/ 10 w 662"/>
                <a:gd name="T31" fmla="*/ 17 h 863"/>
                <a:gd name="T32" fmla="*/ 10 w 662"/>
                <a:gd name="T33" fmla="*/ 17 h 863"/>
                <a:gd name="T34" fmla="*/ 17 w 662"/>
                <a:gd name="T35" fmla="*/ 6 h 863"/>
                <a:gd name="T36" fmla="*/ 26 w 662"/>
                <a:gd name="T37" fmla="*/ 17 h 863"/>
                <a:gd name="T38" fmla="*/ 18 w 662"/>
                <a:gd name="T39" fmla="*/ 25 h 863"/>
                <a:gd name="T40" fmla="*/ 10 w 662"/>
                <a:gd name="T41" fmla="*/ 17 h 86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62"/>
                <a:gd name="T64" fmla="*/ 0 h 863"/>
                <a:gd name="T65" fmla="*/ 662 w 662"/>
                <a:gd name="T66" fmla="*/ 863 h 86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62" h="863">
                  <a:moveTo>
                    <a:pt x="210" y="851"/>
                  </a:moveTo>
                  <a:lnTo>
                    <a:pt x="210" y="851"/>
                  </a:lnTo>
                  <a:cubicBezTo>
                    <a:pt x="198" y="763"/>
                    <a:pt x="198" y="664"/>
                    <a:pt x="198" y="632"/>
                  </a:cubicBezTo>
                  <a:lnTo>
                    <a:pt x="198" y="564"/>
                  </a:lnTo>
                  <a:cubicBezTo>
                    <a:pt x="242" y="589"/>
                    <a:pt x="288" y="621"/>
                    <a:pt x="385" y="621"/>
                  </a:cubicBezTo>
                  <a:cubicBezTo>
                    <a:pt x="550" y="621"/>
                    <a:pt x="662" y="495"/>
                    <a:pt x="662" y="322"/>
                  </a:cubicBezTo>
                  <a:cubicBezTo>
                    <a:pt x="662" y="134"/>
                    <a:pt x="546" y="0"/>
                    <a:pt x="378" y="0"/>
                  </a:cubicBezTo>
                  <a:cubicBezTo>
                    <a:pt x="261" y="0"/>
                    <a:pt x="213" y="56"/>
                    <a:pt x="174" y="98"/>
                  </a:cubicBezTo>
                  <a:cubicBezTo>
                    <a:pt x="166" y="67"/>
                    <a:pt x="162" y="41"/>
                    <a:pt x="153" y="15"/>
                  </a:cubicBezTo>
                  <a:lnTo>
                    <a:pt x="0" y="26"/>
                  </a:lnTo>
                  <a:cubicBezTo>
                    <a:pt x="19" y="127"/>
                    <a:pt x="36" y="220"/>
                    <a:pt x="36" y="323"/>
                  </a:cubicBezTo>
                  <a:lnTo>
                    <a:pt x="36" y="564"/>
                  </a:lnTo>
                  <a:cubicBezTo>
                    <a:pt x="36" y="648"/>
                    <a:pt x="18" y="808"/>
                    <a:pt x="12" y="863"/>
                  </a:cubicBezTo>
                  <a:lnTo>
                    <a:pt x="210" y="851"/>
                  </a:lnTo>
                  <a:close/>
                  <a:moveTo>
                    <a:pt x="186" y="323"/>
                  </a:moveTo>
                  <a:lnTo>
                    <a:pt x="186" y="323"/>
                  </a:lnTo>
                  <a:cubicBezTo>
                    <a:pt x="186" y="206"/>
                    <a:pt x="236" y="125"/>
                    <a:pt x="338" y="125"/>
                  </a:cubicBezTo>
                  <a:cubicBezTo>
                    <a:pt x="433" y="125"/>
                    <a:pt x="500" y="207"/>
                    <a:pt x="500" y="323"/>
                  </a:cubicBezTo>
                  <a:cubicBezTo>
                    <a:pt x="500" y="426"/>
                    <a:pt x="448" y="495"/>
                    <a:pt x="345" y="495"/>
                  </a:cubicBezTo>
                  <a:cubicBezTo>
                    <a:pt x="244" y="495"/>
                    <a:pt x="186" y="437"/>
                    <a:pt x="186" y="3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05" name="Freeform 19"/>
            <p:cNvSpPr>
              <a:spLocks noChangeAspect="1"/>
            </p:cNvSpPr>
            <p:nvPr/>
          </p:nvSpPr>
          <p:spPr bwMode="auto">
            <a:xfrm>
              <a:off x="2773" y="2758"/>
              <a:ext cx="398" cy="570"/>
            </a:xfrm>
            <a:custGeom>
              <a:avLst/>
              <a:gdLst>
                <a:gd name="T0" fmla="*/ 16 w 440"/>
                <a:gd name="T1" fmla="*/ 9 h 621"/>
                <a:gd name="T2" fmla="*/ 16 w 440"/>
                <a:gd name="T3" fmla="*/ 9 h 621"/>
                <a:gd name="T4" fmla="*/ 12 w 440"/>
                <a:gd name="T5" fmla="*/ 8 h 621"/>
                <a:gd name="T6" fmla="*/ 7 w 440"/>
                <a:gd name="T7" fmla="*/ 12 h 621"/>
                <a:gd name="T8" fmla="*/ 13 w 440"/>
                <a:gd name="T9" fmla="*/ 18 h 621"/>
                <a:gd name="T10" fmla="*/ 20 w 440"/>
                <a:gd name="T11" fmla="*/ 30 h 621"/>
                <a:gd name="T12" fmla="*/ 8 w 440"/>
                <a:gd name="T13" fmla="*/ 43 h 621"/>
                <a:gd name="T14" fmla="*/ 5 w 440"/>
                <a:gd name="T15" fmla="*/ 42 h 621"/>
                <a:gd name="T16" fmla="*/ 5 w 440"/>
                <a:gd name="T17" fmla="*/ 33 h 621"/>
                <a:gd name="T18" fmla="*/ 9 w 440"/>
                <a:gd name="T19" fmla="*/ 36 h 621"/>
                <a:gd name="T20" fmla="*/ 12 w 440"/>
                <a:gd name="T21" fmla="*/ 31 h 621"/>
                <a:gd name="T22" fmla="*/ 6 w 440"/>
                <a:gd name="T23" fmla="*/ 25 h 621"/>
                <a:gd name="T24" fmla="*/ 0 w 440"/>
                <a:gd name="T25" fmla="*/ 12 h 621"/>
                <a:gd name="T26" fmla="*/ 11 w 440"/>
                <a:gd name="T27" fmla="*/ 0 h 621"/>
                <a:gd name="T28" fmla="*/ 18 w 440"/>
                <a:gd name="T29" fmla="*/ 6 h 621"/>
                <a:gd name="T30" fmla="*/ 16 w 440"/>
                <a:gd name="T31" fmla="*/ 9 h 6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0"/>
                <a:gd name="T49" fmla="*/ 0 h 621"/>
                <a:gd name="T50" fmla="*/ 440 w 440"/>
                <a:gd name="T51" fmla="*/ 621 h 6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0" h="621">
                  <a:moveTo>
                    <a:pt x="364" y="126"/>
                  </a:moveTo>
                  <a:lnTo>
                    <a:pt x="364" y="126"/>
                  </a:lnTo>
                  <a:cubicBezTo>
                    <a:pt x="328" y="120"/>
                    <a:pt x="306" y="114"/>
                    <a:pt x="270" y="114"/>
                  </a:cubicBezTo>
                  <a:cubicBezTo>
                    <a:pt x="206" y="114"/>
                    <a:pt x="162" y="129"/>
                    <a:pt x="162" y="160"/>
                  </a:cubicBezTo>
                  <a:cubicBezTo>
                    <a:pt x="162" y="195"/>
                    <a:pt x="222" y="224"/>
                    <a:pt x="289" y="260"/>
                  </a:cubicBezTo>
                  <a:cubicBezTo>
                    <a:pt x="353" y="294"/>
                    <a:pt x="440" y="340"/>
                    <a:pt x="440" y="443"/>
                  </a:cubicBezTo>
                  <a:cubicBezTo>
                    <a:pt x="440" y="557"/>
                    <a:pt x="339" y="621"/>
                    <a:pt x="186" y="621"/>
                  </a:cubicBezTo>
                  <a:cubicBezTo>
                    <a:pt x="116" y="621"/>
                    <a:pt x="68" y="607"/>
                    <a:pt x="11" y="594"/>
                  </a:cubicBezTo>
                  <a:lnTo>
                    <a:pt x="11" y="469"/>
                  </a:lnTo>
                  <a:cubicBezTo>
                    <a:pt x="55" y="482"/>
                    <a:pt x="127" y="506"/>
                    <a:pt x="192" y="506"/>
                  </a:cubicBezTo>
                  <a:cubicBezTo>
                    <a:pt x="235" y="506"/>
                    <a:pt x="278" y="487"/>
                    <a:pt x="278" y="448"/>
                  </a:cubicBezTo>
                  <a:cubicBezTo>
                    <a:pt x="278" y="412"/>
                    <a:pt x="227" y="391"/>
                    <a:pt x="152" y="349"/>
                  </a:cubicBezTo>
                  <a:cubicBezTo>
                    <a:pt x="85" y="316"/>
                    <a:pt x="0" y="247"/>
                    <a:pt x="0" y="160"/>
                  </a:cubicBezTo>
                  <a:cubicBezTo>
                    <a:pt x="0" y="57"/>
                    <a:pt x="103" y="0"/>
                    <a:pt x="242" y="0"/>
                  </a:cubicBezTo>
                  <a:cubicBezTo>
                    <a:pt x="288" y="0"/>
                    <a:pt x="342" y="6"/>
                    <a:pt x="387" y="12"/>
                  </a:cubicBezTo>
                  <a:lnTo>
                    <a:pt x="364" y="1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2400" b="0" i="0" u="none" strike="noStrike" kern="0" cap="none" spc="0" normalizeH="0" baseline="0" noProof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grpSp>
        <p:nvGrpSpPr>
          <p:cNvPr id="106" name="Group 29"/>
          <p:cNvGrpSpPr/>
          <p:nvPr userDrawn="1"/>
        </p:nvGrpSpPr>
        <p:grpSpPr>
          <a:xfrm>
            <a:off x="564458" y="720"/>
            <a:ext cx="6016084" cy="6857280"/>
            <a:chOff x="622299" y="794"/>
            <a:chExt cx="6632576" cy="7562056"/>
          </a:xfrm>
        </p:grpSpPr>
        <p:sp>
          <p:nvSpPr>
            <p:cNvPr id="107" name="Freeform 49"/>
            <p:cNvSpPr>
              <a:spLocks/>
            </p:cNvSpPr>
            <p:nvPr userDrawn="1"/>
          </p:nvSpPr>
          <p:spPr bwMode="ltGray">
            <a:xfrm flipH="1">
              <a:off x="622299" y="794"/>
              <a:ext cx="5346701" cy="7562056"/>
            </a:xfrm>
            <a:custGeom>
              <a:avLst/>
              <a:gdLst/>
              <a:ahLst/>
              <a:cxnLst/>
              <a:rect l="l" t="t" r="r" b="b"/>
              <a:pathLst>
                <a:path w="5346701" h="7562056">
                  <a:moveTo>
                    <a:pt x="5346701" y="0"/>
                  </a:moveTo>
                  <a:lnTo>
                    <a:pt x="0" y="0"/>
                  </a:lnTo>
                  <a:lnTo>
                    <a:pt x="0" y="7562056"/>
                  </a:lnTo>
                  <a:lnTo>
                    <a:pt x="474459" y="75620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108" name="Freeform 51"/>
            <p:cNvSpPr>
              <a:spLocks/>
            </p:cNvSpPr>
            <p:nvPr userDrawn="1"/>
          </p:nvSpPr>
          <p:spPr bwMode="ltGray">
            <a:xfrm flipH="1">
              <a:off x="622300" y="794"/>
              <a:ext cx="6632575" cy="4038600"/>
            </a:xfrm>
            <a:custGeom>
              <a:avLst/>
              <a:gdLst>
                <a:gd name="T0" fmla="*/ 0 w 4178"/>
                <a:gd name="T1" fmla="*/ 0 h 2544"/>
                <a:gd name="T2" fmla="*/ 2544 w 4178"/>
                <a:gd name="T3" fmla="*/ 2544 h 2544"/>
                <a:gd name="T4" fmla="*/ 4178 w 4178"/>
                <a:gd name="T5" fmla="*/ 0 h 2544"/>
                <a:gd name="T6" fmla="*/ 0 w 4178"/>
                <a:gd name="T7" fmla="*/ 0 h 2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78" h="2544">
                  <a:moveTo>
                    <a:pt x="0" y="0"/>
                  </a:moveTo>
                  <a:lnTo>
                    <a:pt x="2544" y="2544"/>
                  </a:lnTo>
                  <a:lnTo>
                    <a:pt x="41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109" name="Freeform 53"/>
            <p:cNvSpPr>
              <a:spLocks/>
            </p:cNvSpPr>
            <p:nvPr/>
          </p:nvSpPr>
          <p:spPr bwMode="ltGray">
            <a:xfrm flipH="1">
              <a:off x="1730375" y="1470819"/>
              <a:ext cx="2584450" cy="3092450"/>
            </a:xfrm>
            <a:custGeom>
              <a:avLst/>
              <a:gdLst>
                <a:gd name="T0" fmla="*/ 490 w 1628"/>
                <a:gd name="T1" fmla="*/ 1948 h 1948"/>
                <a:gd name="T2" fmla="*/ 402 w 1628"/>
                <a:gd name="T3" fmla="*/ 1886 h 1948"/>
                <a:gd name="T4" fmla="*/ 322 w 1628"/>
                <a:gd name="T5" fmla="*/ 1816 h 1948"/>
                <a:gd name="T6" fmla="*/ 250 w 1628"/>
                <a:gd name="T7" fmla="*/ 1740 h 1948"/>
                <a:gd name="T8" fmla="*/ 188 w 1628"/>
                <a:gd name="T9" fmla="*/ 1658 h 1948"/>
                <a:gd name="T10" fmla="*/ 134 w 1628"/>
                <a:gd name="T11" fmla="*/ 1570 h 1948"/>
                <a:gd name="T12" fmla="*/ 88 w 1628"/>
                <a:gd name="T13" fmla="*/ 1480 h 1948"/>
                <a:gd name="T14" fmla="*/ 52 w 1628"/>
                <a:gd name="T15" fmla="*/ 1384 h 1948"/>
                <a:gd name="T16" fmla="*/ 26 w 1628"/>
                <a:gd name="T17" fmla="*/ 1286 h 1948"/>
                <a:gd name="T18" fmla="*/ 8 w 1628"/>
                <a:gd name="T19" fmla="*/ 1186 h 1948"/>
                <a:gd name="T20" fmla="*/ 0 w 1628"/>
                <a:gd name="T21" fmla="*/ 1086 h 1948"/>
                <a:gd name="T22" fmla="*/ 2 w 1628"/>
                <a:gd name="T23" fmla="*/ 984 h 1948"/>
                <a:gd name="T24" fmla="*/ 14 w 1628"/>
                <a:gd name="T25" fmla="*/ 882 h 1948"/>
                <a:gd name="T26" fmla="*/ 36 w 1628"/>
                <a:gd name="T27" fmla="*/ 780 h 1948"/>
                <a:gd name="T28" fmla="*/ 70 w 1628"/>
                <a:gd name="T29" fmla="*/ 682 h 1948"/>
                <a:gd name="T30" fmla="*/ 112 w 1628"/>
                <a:gd name="T31" fmla="*/ 584 h 1948"/>
                <a:gd name="T32" fmla="*/ 166 w 1628"/>
                <a:gd name="T33" fmla="*/ 490 h 1948"/>
                <a:gd name="T34" fmla="*/ 196 w 1628"/>
                <a:gd name="T35" fmla="*/ 444 h 1948"/>
                <a:gd name="T36" fmla="*/ 262 w 1628"/>
                <a:gd name="T37" fmla="*/ 360 h 1948"/>
                <a:gd name="T38" fmla="*/ 334 w 1628"/>
                <a:gd name="T39" fmla="*/ 284 h 1948"/>
                <a:gd name="T40" fmla="*/ 414 w 1628"/>
                <a:gd name="T41" fmla="*/ 218 h 1948"/>
                <a:gd name="T42" fmla="*/ 498 w 1628"/>
                <a:gd name="T43" fmla="*/ 160 h 1948"/>
                <a:gd name="T44" fmla="*/ 588 w 1628"/>
                <a:gd name="T45" fmla="*/ 110 h 1948"/>
                <a:gd name="T46" fmla="*/ 682 w 1628"/>
                <a:gd name="T47" fmla="*/ 68 h 1948"/>
                <a:gd name="T48" fmla="*/ 778 w 1628"/>
                <a:gd name="T49" fmla="*/ 38 h 1948"/>
                <a:gd name="T50" fmla="*/ 876 w 1628"/>
                <a:gd name="T51" fmla="*/ 16 h 1948"/>
                <a:gd name="T52" fmla="*/ 978 w 1628"/>
                <a:gd name="T53" fmla="*/ 2 h 1948"/>
                <a:gd name="T54" fmla="*/ 1080 w 1628"/>
                <a:gd name="T55" fmla="*/ 0 h 1948"/>
                <a:gd name="T56" fmla="*/ 1182 w 1628"/>
                <a:gd name="T57" fmla="*/ 8 h 1948"/>
                <a:gd name="T58" fmla="*/ 1282 w 1628"/>
                <a:gd name="T59" fmla="*/ 24 h 1948"/>
                <a:gd name="T60" fmla="*/ 1382 w 1628"/>
                <a:gd name="T61" fmla="*/ 52 h 1948"/>
                <a:gd name="T62" fmla="*/ 1482 w 1628"/>
                <a:gd name="T63" fmla="*/ 88 h 1948"/>
                <a:gd name="T64" fmla="*/ 1576 w 1628"/>
                <a:gd name="T65" fmla="*/ 136 h 1948"/>
                <a:gd name="T66" fmla="*/ 1624 w 1628"/>
                <a:gd name="T67" fmla="*/ 164 h 1948"/>
                <a:gd name="T68" fmla="*/ 490 w 1628"/>
                <a:gd name="T69" fmla="*/ 1948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28" h="1948">
                  <a:moveTo>
                    <a:pt x="490" y="1948"/>
                  </a:moveTo>
                  <a:lnTo>
                    <a:pt x="490" y="1948"/>
                  </a:lnTo>
                  <a:lnTo>
                    <a:pt x="444" y="1918"/>
                  </a:lnTo>
                  <a:lnTo>
                    <a:pt x="402" y="1886"/>
                  </a:lnTo>
                  <a:lnTo>
                    <a:pt x="360" y="1852"/>
                  </a:lnTo>
                  <a:lnTo>
                    <a:pt x="322" y="1816"/>
                  </a:lnTo>
                  <a:lnTo>
                    <a:pt x="286" y="1778"/>
                  </a:lnTo>
                  <a:lnTo>
                    <a:pt x="250" y="1740"/>
                  </a:lnTo>
                  <a:lnTo>
                    <a:pt x="218" y="1700"/>
                  </a:lnTo>
                  <a:lnTo>
                    <a:pt x="188" y="1658"/>
                  </a:lnTo>
                  <a:lnTo>
                    <a:pt x="160" y="1614"/>
                  </a:lnTo>
                  <a:lnTo>
                    <a:pt x="134" y="1570"/>
                  </a:lnTo>
                  <a:lnTo>
                    <a:pt x="110" y="1526"/>
                  </a:lnTo>
                  <a:lnTo>
                    <a:pt x="88" y="1480"/>
                  </a:lnTo>
                  <a:lnTo>
                    <a:pt x="70" y="1432"/>
                  </a:lnTo>
                  <a:lnTo>
                    <a:pt x="52" y="1384"/>
                  </a:lnTo>
                  <a:lnTo>
                    <a:pt x="38" y="1336"/>
                  </a:lnTo>
                  <a:lnTo>
                    <a:pt x="26" y="1286"/>
                  </a:lnTo>
                  <a:lnTo>
                    <a:pt x="16" y="1236"/>
                  </a:lnTo>
                  <a:lnTo>
                    <a:pt x="8" y="1186"/>
                  </a:lnTo>
                  <a:lnTo>
                    <a:pt x="4" y="1136"/>
                  </a:lnTo>
                  <a:lnTo>
                    <a:pt x="0" y="1086"/>
                  </a:lnTo>
                  <a:lnTo>
                    <a:pt x="0" y="1034"/>
                  </a:lnTo>
                  <a:lnTo>
                    <a:pt x="2" y="984"/>
                  </a:lnTo>
                  <a:lnTo>
                    <a:pt x="8" y="932"/>
                  </a:lnTo>
                  <a:lnTo>
                    <a:pt x="14" y="882"/>
                  </a:lnTo>
                  <a:lnTo>
                    <a:pt x="24" y="830"/>
                  </a:lnTo>
                  <a:lnTo>
                    <a:pt x="36" y="780"/>
                  </a:lnTo>
                  <a:lnTo>
                    <a:pt x="52" y="730"/>
                  </a:lnTo>
                  <a:lnTo>
                    <a:pt x="70" y="682"/>
                  </a:lnTo>
                  <a:lnTo>
                    <a:pt x="90" y="632"/>
                  </a:lnTo>
                  <a:lnTo>
                    <a:pt x="112" y="584"/>
                  </a:lnTo>
                  <a:lnTo>
                    <a:pt x="138" y="536"/>
                  </a:lnTo>
                  <a:lnTo>
                    <a:pt x="166" y="490"/>
                  </a:lnTo>
                  <a:lnTo>
                    <a:pt x="166" y="490"/>
                  </a:lnTo>
                  <a:lnTo>
                    <a:pt x="196" y="444"/>
                  </a:lnTo>
                  <a:lnTo>
                    <a:pt x="228" y="402"/>
                  </a:lnTo>
                  <a:lnTo>
                    <a:pt x="262" y="360"/>
                  </a:lnTo>
                  <a:lnTo>
                    <a:pt x="298" y="322"/>
                  </a:lnTo>
                  <a:lnTo>
                    <a:pt x="334" y="284"/>
                  </a:lnTo>
                  <a:lnTo>
                    <a:pt x="374" y="250"/>
                  </a:lnTo>
                  <a:lnTo>
                    <a:pt x="414" y="218"/>
                  </a:lnTo>
                  <a:lnTo>
                    <a:pt x="456" y="188"/>
                  </a:lnTo>
                  <a:lnTo>
                    <a:pt x="498" y="160"/>
                  </a:lnTo>
                  <a:lnTo>
                    <a:pt x="542" y="134"/>
                  </a:lnTo>
                  <a:lnTo>
                    <a:pt x="588" y="110"/>
                  </a:lnTo>
                  <a:lnTo>
                    <a:pt x="634" y="88"/>
                  </a:lnTo>
                  <a:lnTo>
                    <a:pt x="682" y="68"/>
                  </a:lnTo>
                  <a:lnTo>
                    <a:pt x="730" y="52"/>
                  </a:lnTo>
                  <a:lnTo>
                    <a:pt x="778" y="38"/>
                  </a:lnTo>
                  <a:lnTo>
                    <a:pt x="828" y="26"/>
                  </a:lnTo>
                  <a:lnTo>
                    <a:pt x="876" y="16"/>
                  </a:lnTo>
                  <a:lnTo>
                    <a:pt x="926" y="8"/>
                  </a:lnTo>
                  <a:lnTo>
                    <a:pt x="978" y="2"/>
                  </a:lnTo>
                  <a:lnTo>
                    <a:pt x="1028" y="0"/>
                  </a:lnTo>
                  <a:lnTo>
                    <a:pt x="1080" y="0"/>
                  </a:lnTo>
                  <a:lnTo>
                    <a:pt x="1130" y="2"/>
                  </a:lnTo>
                  <a:lnTo>
                    <a:pt x="1182" y="8"/>
                  </a:lnTo>
                  <a:lnTo>
                    <a:pt x="1232" y="14"/>
                  </a:lnTo>
                  <a:lnTo>
                    <a:pt x="1282" y="24"/>
                  </a:lnTo>
                  <a:lnTo>
                    <a:pt x="1332" y="36"/>
                  </a:lnTo>
                  <a:lnTo>
                    <a:pt x="1382" y="52"/>
                  </a:lnTo>
                  <a:lnTo>
                    <a:pt x="1432" y="68"/>
                  </a:lnTo>
                  <a:lnTo>
                    <a:pt x="1482" y="88"/>
                  </a:lnTo>
                  <a:lnTo>
                    <a:pt x="1530" y="112"/>
                  </a:lnTo>
                  <a:lnTo>
                    <a:pt x="1576" y="136"/>
                  </a:lnTo>
                  <a:lnTo>
                    <a:pt x="1624" y="164"/>
                  </a:lnTo>
                  <a:lnTo>
                    <a:pt x="1624" y="164"/>
                  </a:lnTo>
                  <a:lnTo>
                    <a:pt x="1628" y="168"/>
                  </a:lnTo>
                  <a:lnTo>
                    <a:pt x="490" y="1948"/>
                  </a:lnTo>
                  <a:close/>
                </a:path>
              </a:pathLst>
            </a:custGeom>
            <a:solidFill>
              <a:srgbClr val="D93F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110" name="Freeform 55"/>
            <p:cNvSpPr>
              <a:spLocks/>
            </p:cNvSpPr>
            <p:nvPr userDrawn="1"/>
          </p:nvSpPr>
          <p:spPr bwMode="ltGray">
            <a:xfrm flipH="1">
              <a:off x="4149725" y="858044"/>
              <a:ext cx="863600" cy="863600"/>
            </a:xfrm>
            <a:custGeom>
              <a:avLst/>
              <a:gdLst>
                <a:gd name="T0" fmla="*/ 0 w 544"/>
                <a:gd name="T1" fmla="*/ 272 h 544"/>
                <a:gd name="T2" fmla="*/ 4 w 544"/>
                <a:gd name="T3" fmla="*/ 218 h 544"/>
                <a:gd name="T4" fmla="*/ 20 w 544"/>
                <a:gd name="T5" fmla="*/ 166 h 544"/>
                <a:gd name="T6" fmla="*/ 46 w 544"/>
                <a:gd name="T7" fmla="*/ 120 h 544"/>
                <a:gd name="T8" fmla="*/ 80 w 544"/>
                <a:gd name="T9" fmla="*/ 80 h 544"/>
                <a:gd name="T10" fmla="*/ 120 w 544"/>
                <a:gd name="T11" fmla="*/ 46 h 544"/>
                <a:gd name="T12" fmla="*/ 166 w 544"/>
                <a:gd name="T13" fmla="*/ 20 h 544"/>
                <a:gd name="T14" fmla="*/ 216 w 544"/>
                <a:gd name="T15" fmla="*/ 4 h 544"/>
                <a:gd name="T16" fmla="*/ 272 w 544"/>
                <a:gd name="T17" fmla="*/ 0 h 544"/>
                <a:gd name="T18" fmla="*/ 300 w 544"/>
                <a:gd name="T19" fmla="*/ 0 h 544"/>
                <a:gd name="T20" fmla="*/ 352 w 544"/>
                <a:gd name="T21" fmla="*/ 12 h 544"/>
                <a:gd name="T22" fmla="*/ 402 w 544"/>
                <a:gd name="T23" fmla="*/ 32 h 544"/>
                <a:gd name="T24" fmla="*/ 446 w 544"/>
                <a:gd name="T25" fmla="*/ 62 h 544"/>
                <a:gd name="T26" fmla="*/ 482 w 544"/>
                <a:gd name="T27" fmla="*/ 98 h 544"/>
                <a:gd name="T28" fmla="*/ 512 w 544"/>
                <a:gd name="T29" fmla="*/ 142 h 544"/>
                <a:gd name="T30" fmla="*/ 532 w 544"/>
                <a:gd name="T31" fmla="*/ 190 h 544"/>
                <a:gd name="T32" fmla="*/ 544 w 544"/>
                <a:gd name="T33" fmla="*/ 244 h 544"/>
                <a:gd name="T34" fmla="*/ 544 w 544"/>
                <a:gd name="T35" fmla="*/ 272 h 544"/>
                <a:gd name="T36" fmla="*/ 538 w 544"/>
                <a:gd name="T37" fmla="*/ 326 h 544"/>
                <a:gd name="T38" fmla="*/ 524 w 544"/>
                <a:gd name="T39" fmla="*/ 378 h 544"/>
                <a:gd name="T40" fmla="*/ 498 w 544"/>
                <a:gd name="T41" fmla="*/ 424 h 544"/>
                <a:gd name="T42" fmla="*/ 464 w 544"/>
                <a:gd name="T43" fmla="*/ 464 h 544"/>
                <a:gd name="T44" fmla="*/ 424 w 544"/>
                <a:gd name="T45" fmla="*/ 498 h 544"/>
                <a:gd name="T46" fmla="*/ 378 w 544"/>
                <a:gd name="T47" fmla="*/ 524 h 544"/>
                <a:gd name="T48" fmla="*/ 326 w 544"/>
                <a:gd name="T49" fmla="*/ 540 h 544"/>
                <a:gd name="T50" fmla="*/ 272 w 544"/>
                <a:gd name="T51" fmla="*/ 544 h 544"/>
                <a:gd name="T52" fmla="*/ 244 w 544"/>
                <a:gd name="T53" fmla="*/ 544 h 544"/>
                <a:gd name="T54" fmla="*/ 190 w 544"/>
                <a:gd name="T55" fmla="*/ 532 h 544"/>
                <a:gd name="T56" fmla="*/ 142 w 544"/>
                <a:gd name="T57" fmla="*/ 512 h 544"/>
                <a:gd name="T58" fmla="*/ 98 w 544"/>
                <a:gd name="T59" fmla="*/ 482 h 544"/>
                <a:gd name="T60" fmla="*/ 62 w 544"/>
                <a:gd name="T61" fmla="*/ 446 h 544"/>
                <a:gd name="T62" fmla="*/ 32 w 544"/>
                <a:gd name="T63" fmla="*/ 402 h 544"/>
                <a:gd name="T64" fmla="*/ 12 w 544"/>
                <a:gd name="T65" fmla="*/ 354 h 544"/>
                <a:gd name="T66" fmla="*/ 0 w 544"/>
                <a:gd name="T67" fmla="*/ 300 h 544"/>
                <a:gd name="T68" fmla="*/ 0 w 544"/>
                <a:gd name="T69" fmla="*/ 272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4" h="544">
                  <a:moveTo>
                    <a:pt x="0" y="272"/>
                  </a:moveTo>
                  <a:lnTo>
                    <a:pt x="0" y="272"/>
                  </a:lnTo>
                  <a:lnTo>
                    <a:pt x="0" y="244"/>
                  </a:lnTo>
                  <a:lnTo>
                    <a:pt x="4" y="218"/>
                  </a:lnTo>
                  <a:lnTo>
                    <a:pt x="12" y="190"/>
                  </a:lnTo>
                  <a:lnTo>
                    <a:pt x="20" y="166"/>
                  </a:lnTo>
                  <a:lnTo>
                    <a:pt x="32" y="142"/>
                  </a:lnTo>
                  <a:lnTo>
                    <a:pt x="46" y="120"/>
                  </a:lnTo>
                  <a:lnTo>
                    <a:pt x="62" y="98"/>
                  </a:lnTo>
                  <a:lnTo>
                    <a:pt x="80" y="80"/>
                  </a:lnTo>
                  <a:lnTo>
                    <a:pt x="98" y="62"/>
                  </a:lnTo>
                  <a:lnTo>
                    <a:pt x="120" y="46"/>
                  </a:lnTo>
                  <a:lnTo>
                    <a:pt x="142" y="32"/>
                  </a:lnTo>
                  <a:lnTo>
                    <a:pt x="166" y="20"/>
                  </a:lnTo>
                  <a:lnTo>
                    <a:pt x="190" y="12"/>
                  </a:lnTo>
                  <a:lnTo>
                    <a:pt x="216" y="4"/>
                  </a:lnTo>
                  <a:lnTo>
                    <a:pt x="244" y="0"/>
                  </a:lnTo>
                  <a:lnTo>
                    <a:pt x="272" y="0"/>
                  </a:lnTo>
                  <a:lnTo>
                    <a:pt x="272" y="0"/>
                  </a:lnTo>
                  <a:lnTo>
                    <a:pt x="300" y="0"/>
                  </a:lnTo>
                  <a:lnTo>
                    <a:pt x="326" y="4"/>
                  </a:lnTo>
                  <a:lnTo>
                    <a:pt x="352" y="12"/>
                  </a:lnTo>
                  <a:lnTo>
                    <a:pt x="378" y="20"/>
                  </a:lnTo>
                  <a:lnTo>
                    <a:pt x="402" y="32"/>
                  </a:lnTo>
                  <a:lnTo>
                    <a:pt x="424" y="46"/>
                  </a:lnTo>
                  <a:lnTo>
                    <a:pt x="446" y="62"/>
                  </a:lnTo>
                  <a:lnTo>
                    <a:pt x="464" y="80"/>
                  </a:lnTo>
                  <a:lnTo>
                    <a:pt x="482" y="98"/>
                  </a:lnTo>
                  <a:lnTo>
                    <a:pt x="498" y="120"/>
                  </a:lnTo>
                  <a:lnTo>
                    <a:pt x="512" y="142"/>
                  </a:lnTo>
                  <a:lnTo>
                    <a:pt x="524" y="166"/>
                  </a:lnTo>
                  <a:lnTo>
                    <a:pt x="532" y="190"/>
                  </a:lnTo>
                  <a:lnTo>
                    <a:pt x="538" y="218"/>
                  </a:lnTo>
                  <a:lnTo>
                    <a:pt x="544" y="244"/>
                  </a:lnTo>
                  <a:lnTo>
                    <a:pt x="544" y="272"/>
                  </a:lnTo>
                  <a:lnTo>
                    <a:pt x="544" y="272"/>
                  </a:lnTo>
                  <a:lnTo>
                    <a:pt x="544" y="300"/>
                  </a:lnTo>
                  <a:lnTo>
                    <a:pt x="538" y="326"/>
                  </a:lnTo>
                  <a:lnTo>
                    <a:pt x="532" y="354"/>
                  </a:lnTo>
                  <a:lnTo>
                    <a:pt x="524" y="378"/>
                  </a:lnTo>
                  <a:lnTo>
                    <a:pt x="512" y="402"/>
                  </a:lnTo>
                  <a:lnTo>
                    <a:pt x="498" y="424"/>
                  </a:lnTo>
                  <a:lnTo>
                    <a:pt x="482" y="446"/>
                  </a:lnTo>
                  <a:lnTo>
                    <a:pt x="464" y="464"/>
                  </a:lnTo>
                  <a:lnTo>
                    <a:pt x="446" y="482"/>
                  </a:lnTo>
                  <a:lnTo>
                    <a:pt x="424" y="498"/>
                  </a:lnTo>
                  <a:lnTo>
                    <a:pt x="402" y="512"/>
                  </a:lnTo>
                  <a:lnTo>
                    <a:pt x="378" y="524"/>
                  </a:lnTo>
                  <a:lnTo>
                    <a:pt x="352" y="532"/>
                  </a:lnTo>
                  <a:lnTo>
                    <a:pt x="326" y="540"/>
                  </a:lnTo>
                  <a:lnTo>
                    <a:pt x="300" y="544"/>
                  </a:lnTo>
                  <a:lnTo>
                    <a:pt x="272" y="544"/>
                  </a:lnTo>
                  <a:lnTo>
                    <a:pt x="272" y="544"/>
                  </a:lnTo>
                  <a:lnTo>
                    <a:pt x="244" y="544"/>
                  </a:lnTo>
                  <a:lnTo>
                    <a:pt x="216" y="540"/>
                  </a:lnTo>
                  <a:lnTo>
                    <a:pt x="190" y="532"/>
                  </a:lnTo>
                  <a:lnTo>
                    <a:pt x="166" y="524"/>
                  </a:lnTo>
                  <a:lnTo>
                    <a:pt x="142" y="512"/>
                  </a:lnTo>
                  <a:lnTo>
                    <a:pt x="120" y="498"/>
                  </a:lnTo>
                  <a:lnTo>
                    <a:pt x="98" y="482"/>
                  </a:lnTo>
                  <a:lnTo>
                    <a:pt x="80" y="464"/>
                  </a:lnTo>
                  <a:lnTo>
                    <a:pt x="62" y="446"/>
                  </a:lnTo>
                  <a:lnTo>
                    <a:pt x="46" y="424"/>
                  </a:lnTo>
                  <a:lnTo>
                    <a:pt x="32" y="402"/>
                  </a:lnTo>
                  <a:lnTo>
                    <a:pt x="20" y="378"/>
                  </a:lnTo>
                  <a:lnTo>
                    <a:pt x="12" y="354"/>
                  </a:lnTo>
                  <a:lnTo>
                    <a:pt x="4" y="326"/>
                  </a:lnTo>
                  <a:lnTo>
                    <a:pt x="0" y="300"/>
                  </a:lnTo>
                  <a:lnTo>
                    <a:pt x="0" y="272"/>
                  </a:lnTo>
                  <a:lnTo>
                    <a:pt x="0" y="272"/>
                  </a:lnTo>
                  <a:close/>
                </a:path>
              </a:pathLst>
            </a:custGeom>
            <a:solidFill>
              <a:srgbClr val="5859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111" name="Freeform 61"/>
            <p:cNvSpPr>
              <a:spLocks/>
            </p:cNvSpPr>
            <p:nvPr userDrawn="1"/>
          </p:nvSpPr>
          <p:spPr bwMode="ltGray">
            <a:xfrm flipH="1">
              <a:off x="5730875" y="972344"/>
              <a:ext cx="654050" cy="647700"/>
            </a:xfrm>
            <a:custGeom>
              <a:avLst/>
              <a:gdLst>
                <a:gd name="T0" fmla="*/ 412 w 412"/>
                <a:gd name="T1" fmla="*/ 336 h 408"/>
                <a:gd name="T2" fmla="*/ 412 w 412"/>
                <a:gd name="T3" fmla="*/ 336 h 408"/>
                <a:gd name="T4" fmla="*/ 394 w 412"/>
                <a:gd name="T5" fmla="*/ 352 h 408"/>
                <a:gd name="T6" fmla="*/ 374 w 412"/>
                <a:gd name="T7" fmla="*/ 368 h 408"/>
                <a:gd name="T8" fmla="*/ 354 w 412"/>
                <a:gd name="T9" fmla="*/ 380 h 408"/>
                <a:gd name="T10" fmla="*/ 334 w 412"/>
                <a:gd name="T11" fmla="*/ 390 h 408"/>
                <a:gd name="T12" fmla="*/ 312 w 412"/>
                <a:gd name="T13" fmla="*/ 398 h 408"/>
                <a:gd name="T14" fmla="*/ 288 w 412"/>
                <a:gd name="T15" fmla="*/ 404 h 408"/>
                <a:gd name="T16" fmla="*/ 266 w 412"/>
                <a:gd name="T17" fmla="*/ 406 h 408"/>
                <a:gd name="T18" fmla="*/ 244 w 412"/>
                <a:gd name="T19" fmla="*/ 408 h 408"/>
                <a:gd name="T20" fmla="*/ 220 w 412"/>
                <a:gd name="T21" fmla="*/ 408 h 408"/>
                <a:gd name="T22" fmla="*/ 198 w 412"/>
                <a:gd name="T23" fmla="*/ 404 h 408"/>
                <a:gd name="T24" fmla="*/ 174 w 412"/>
                <a:gd name="T25" fmla="*/ 400 h 408"/>
                <a:gd name="T26" fmla="*/ 152 w 412"/>
                <a:gd name="T27" fmla="*/ 392 h 408"/>
                <a:gd name="T28" fmla="*/ 132 w 412"/>
                <a:gd name="T29" fmla="*/ 382 h 408"/>
                <a:gd name="T30" fmla="*/ 110 w 412"/>
                <a:gd name="T31" fmla="*/ 370 h 408"/>
                <a:gd name="T32" fmla="*/ 92 w 412"/>
                <a:gd name="T33" fmla="*/ 356 h 408"/>
                <a:gd name="T34" fmla="*/ 72 w 412"/>
                <a:gd name="T35" fmla="*/ 340 h 408"/>
                <a:gd name="T36" fmla="*/ 72 w 412"/>
                <a:gd name="T37" fmla="*/ 340 h 408"/>
                <a:gd name="T38" fmla="*/ 56 w 412"/>
                <a:gd name="T39" fmla="*/ 322 h 408"/>
                <a:gd name="T40" fmla="*/ 42 w 412"/>
                <a:gd name="T41" fmla="*/ 302 h 408"/>
                <a:gd name="T42" fmla="*/ 30 w 412"/>
                <a:gd name="T43" fmla="*/ 282 h 408"/>
                <a:gd name="T44" fmla="*/ 20 w 412"/>
                <a:gd name="T45" fmla="*/ 262 h 408"/>
                <a:gd name="T46" fmla="*/ 12 w 412"/>
                <a:gd name="T47" fmla="*/ 240 h 408"/>
                <a:gd name="T48" fmla="*/ 6 w 412"/>
                <a:gd name="T49" fmla="*/ 218 h 408"/>
                <a:gd name="T50" fmla="*/ 2 w 412"/>
                <a:gd name="T51" fmla="*/ 194 h 408"/>
                <a:gd name="T52" fmla="*/ 0 w 412"/>
                <a:gd name="T53" fmla="*/ 172 h 408"/>
                <a:gd name="T54" fmla="*/ 2 w 412"/>
                <a:gd name="T55" fmla="*/ 148 h 408"/>
                <a:gd name="T56" fmla="*/ 4 w 412"/>
                <a:gd name="T57" fmla="*/ 126 h 408"/>
                <a:gd name="T58" fmla="*/ 10 w 412"/>
                <a:gd name="T59" fmla="*/ 104 h 408"/>
                <a:gd name="T60" fmla="*/ 18 w 412"/>
                <a:gd name="T61" fmla="*/ 80 h 408"/>
                <a:gd name="T62" fmla="*/ 26 w 412"/>
                <a:gd name="T63" fmla="*/ 60 h 408"/>
                <a:gd name="T64" fmla="*/ 38 w 412"/>
                <a:gd name="T65" fmla="*/ 40 h 408"/>
                <a:gd name="T66" fmla="*/ 52 w 412"/>
                <a:gd name="T67" fmla="*/ 20 h 408"/>
                <a:gd name="T68" fmla="*/ 68 w 412"/>
                <a:gd name="T69" fmla="*/ 2 h 408"/>
                <a:gd name="T70" fmla="*/ 70 w 412"/>
                <a:gd name="T71" fmla="*/ 0 h 408"/>
                <a:gd name="T72" fmla="*/ 412 w 412"/>
                <a:gd name="T73" fmla="*/ 33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12" h="408">
                  <a:moveTo>
                    <a:pt x="412" y="336"/>
                  </a:moveTo>
                  <a:lnTo>
                    <a:pt x="412" y="336"/>
                  </a:lnTo>
                  <a:lnTo>
                    <a:pt x="394" y="352"/>
                  </a:lnTo>
                  <a:lnTo>
                    <a:pt x="374" y="368"/>
                  </a:lnTo>
                  <a:lnTo>
                    <a:pt x="354" y="380"/>
                  </a:lnTo>
                  <a:lnTo>
                    <a:pt x="334" y="390"/>
                  </a:lnTo>
                  <a:lnTo>
                    <a:pt x="312" y="398"/>
                  </a:lnTo>
                  <a:lnTo>
                    <a:pt x="288" y="404"/>
                  </a:lnTo>
                  <a:lnTo>
                    <a:pt x="266" y="406"/>
                  </a:lnTo>
                  <a:lnTo>
                    <a:pt x="244" y="408"/>
                  </a:lnTo>
                  <a:lnTo>
                    <a:pt x="220" y="408"/>
                  </a:lnTo>
                  <a:lnTo>
                    <a:pt x="198" y="404"/>
                  </a:lnTo>
                  <a:lnTo>
                    <a:pt x="174" y="400"/>
                  </a:lnTo>
                  <a:lnTo>
                    <a:pt x="152" y="392"/>
                  </a:lnTo>
                  <a:lnTo>
                    <a:pt x="132" y="382"/>
                  </a:lnTo>
                  <a:lnTo>
                    <a:pt x="110" y="370"/>
                  </a:lnTo>
                  <a:lnTo>
                    <a:pt x="92" y="356"/>
                  </a:lnTo>
                  <a:lnTo>
                    <a:pt x="72" y="340"/>
                  </a:lnTo>
                  <a:lnTo>
                    <a:pt x="72" y="340"/>
                  </a:lnTo>
                  <a:lnTo>
                    <a:pt x="56" y="322"/>
                  </a:lnTo>
                  <a:lnTo>
                    <a:pt x="42" y="302"/>
                  </a:lnTo>
                  <a:lnTo>
                    <a:pt x="30" y="282"/>
                  </a:lnTo>
                  <a:lnTo>
                    <a:pt x="20" y="262"/>
                  </a:lnTo>
                  <a:lnTo>
                    <a:pt x="12" y="240"/>
                  </a:lnTo>
                  <a:lnTo>
                    <a:pt x="6" y="218"/>
                  </a:lnTo>
                  <a:lnTo>
                    <a:pt x="2" y="194"/>
                  </a:lnTo>
                  <a:lnTo>
                    <a:pt x="0" y="172"/>
                  </a:lnTo>
                  <a:lnTo>
                    <a:pt x="2" y="148"/>
                  </a:lnTo>
                  <a:lnTo>
                    <a:pt x="4" y="126"/>
                  </a:lnTo>
                  <a:lnTo>
                    <a:pt x="10" y="104"/>
                  </a:lnTo>
                  <a:lnTo>
                    <a:pt x="18" y="80"/>
                  </a:lnTo>
                  <a:lnTo>
                    <a:pt x="26" y="60"/>
                  </a:lnTo>
                  <a:lnTo>
                    <a:pt x="38" y="40"/>
                  </a:lnTo>
                  <a:lnTo>
                    <a:pt x="52" y="20"/>
                  </a:lnTo>
                  <a:lnTo>
                    <a:pt x="68" y="2"/>
                  </a:lnTo>
                  <a:lnTo>
                    <a:pt x="70" y="0"/>
                  </a:lnTo>
                  <a:lnTo>
                    <a:pt x="412" y="336"/>
                  </a:lnTo>
                  <a:close/>
                </a:path>
              </a:pathLst>
            </a:custGeom>
            <a:solidFill>
              <a:srgbClr val="D93F3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  <p:sp>
          <p:nvSpPr>
            <p:cNvPr id="112" name="Freeform 62"/>
            <p:cNvSpPr>
              <a:spLocks/>
            </p:cNvSpPr>
            <p:nvPr userDrawn="1"/>
          </p:nvSpPr>
          <p:spPr bwMode="ltGray">
            <a:xfrm flipH="1">
              <a:off x="3006725" y="4140994"/>
              <a:ext cx="944562" cy="1122604"/>
            </a:xfrm>
            <a:custGeom>
              <a:avLst/>
              <a:gdLst>
                <a:gd name="T0" fmla="*/ 718 w 1008"/>
                <a:gd name="T1" fmla="*/ 0 h 1206"/>
                <a:gd name="T2" fmla="*/ 772 w 1008"/>
                <a:gd name="T3" fmla="*/ 38 h 1206"/>
                <a:gd name="T4" fmla="*/ 820 w 1008"/>
                <a:gd name="T5" fmla="*/ 82 h 1206"/>
                <a:gd name="T6" fmla="*/ 864 w 1008"/>
                <a:gd name="T7" fmla="*/ 128 h 1206"/>
                <a:gd name="T8" fmla="*/ 902 w 1008"/>
                <a:gd name="T9" fmla="*/ 180 h 1206"/>
                <a:gd name="T10" fmla="*/ 934 w 1008"/>
                <a:gd name="T11" fmla="*/ 234 h 1206"/>
                <a:gd name="T12" fmla="*/ 960 w 1008"/>
                <a:gd name="T13" fmla="*/ 290 h 1206"/>
                <a:gd name="T14" fmla="*/ 982 w 1008"/>
                <a:gd name="T15" fmla="*/ 350 h 1206"/>
                <a:gd name="T16" fmla="*/ 996 w 1008"/>
                <a:gd name="T17" fmla="*/ 410 h 1206"/>
                <a:gd name="T18" fmla="*/ 1006 w 1008"/>
                <a:gd name="T19" fmla="*/ 472 h 1206"/>
                <a:gd name="T20" fmla="*/ 1008 w 1008"/>
                <a:gd name="T21" fmla="*/ 534 h 1206"/>
                <a:gd name="T22" fmla="*/ 1006 w 1008"/>
                <a:gd name="T23" fmla="*/ 598 h 1206"/>
                <a:gd name="T24" fmla="*/ 998 w 1008"/>
                <a:gd name="T25" fmla="*/ 662 h 1206"/>
                <a:gd name="T26" fmla="*/ 984 w 1008"/>
                <a:gd name="T27" fmla="*/ 724 h 1206"/>
                <a:gd name="T28" fmla="*/ 962 w 1008"/>
                <a:gd name="T29" fmla="*/ 786 h 1206"/>
                <a:gd name="T30" fmla="*/ 936 w 1008"/>
                <a:gd name="T31" fmla="*/ 846 h 1206"/>
                <a:gd name="T32" fmla="*/ 902 w 1008"/>
                <a:gd name="T33" fmla="*/ 904 h 1206"/>
                <a:gd name="T34" fmla="*/ 884 w 1008"/>
                <a:gd name="T35" fmla="*/ 932 h 1206"/>
                <a:gd name="T36" fmla="*/ 842 w 1008"/>
                <a:gd name="T37" fmla="*/ 984 h 1206"/>
                <a:gd name="T38" fmla="*/ 798 w 1008"/>
                <a:gd name="T39" fmla="*/ 1030 h 1206"/>
                <a:gd name="T40" fmla="*/ 748 w 1008"/>
                <a:gd name="T41" fmla="*/ 1072 h 1206"/>
                <a:gd name="T42" fmla="*/ 696 w 1008"/>
                <a:gd name="T43" fmla="*/ 1108 h 1206"/>
                <a:gd name="T44" fmla="*/ 640 w 1008"/>
                <a:gd name="T45" fmla="*/ 1138 h 1206"/>
                <a:gd name="T46" fmla="*/ 582 w 1008"/>
                <a:gd name="T47" fmla="*/ 1164 h 1206"/>
                <a:gd name="T48" fmla="*/ 524 w 1008"/>
                <a:gd name="T49" fmla="*/ 1182 h 1206"/>
                <a:gd name="T50" fmla="*/ 462 w 1008"/>
                <a:gd name="T51" fmla="*/ 1196 h 1206"/>
                <a:gd name="T52" fmla="*/ 400 w 1008"/>
                <a:gd name="T53" fmla="*/ 1204 h 1206"/>
                <a:gd name="T54" fmla="*/ 336 w 1008"/>
                <a:gd name="T55" fmla="*/ 1206 h 1206"/>
                <a:gd name="T56" fmla="*/ 274 w 1008"/>
                <a:gd name="T57" fmla="*/ 1200 h 1206"/>
                <a:gd name="T58" fmla="*/ 210 w 1008"/>
                <a:gd name="T59" fmla="*/ 1190 h 1206"/>
                <a:gd name="T60" fmla="*/ 148 w 1008"/>
                <a:gd name="T61" fmla="*/ 1174 h 1206"/>
                <a:gd name="T62" fmla="*/ 88 w 1008"/>
                <a:gd name="T63" fmla="*/ 1150 h 1206"/>
                <a:gd name="T64" fmla="*/ 28 w 1008"/>
                <a:gd name="T65" fmla="*/ 1120 h 1206"/>
                <a:gd name="T66" fmla="*/ 718 w 1008"/>
                <a:gd name="T67" fmla="*/ 0 h 1206"/>
                <a:gd name="connsiteX0" fmla="*/ 7240 w 10000"/>
                <a:gd name="connsiteY0" fmla="*/ 65 h 10000"/>
                <a:gd name="connsiteX1" fmla="*/ 7123 w 10000"/>
                <a:gd name="connsiteY1" fmla="*/ 0 h 10000"/>
                <a:gd name="connsiteX2" fmla="*/ 7401 w 10000"/>
                <a:gd name="connsiteY2" fmla="*/ 149 h 10000"/>
                <a:gd name="connsiteX3" fmla="*/ 7659 w 10000"/>
                <a:gd name="connsiteY3" fmla="*/ 315 h 10000"/>
                <a:gd name="connsiteX4" fmla="*/ 7897 w 10000"/>
                <a:gd name="connsiteY4" fmla="*/ 498 h 10000"/>
                <a:gd name="connsiteX5" fmla="*/ 8135 w 10000"/>
                <a:gd name="connsiteY5" fmla="*/ 680 h 10000"/>
                <a:gd name="connsiteX6" fmla="*/ 8353 w 10000"/>
                <a:gd name="connsiteY6" fmla="*/ 862 h 10000"/>
                <a:gd name="connsiteX7" fmla="*/ 8571 w 10000"/>
                <a:gd name="connsiteY7" fmla="*/ 1061 h 10000"/>
                <a:gd name="connsiteX8" fmla="*/ 8770 w 10000"/>
                <a:gd name="connsiteY8" fmla="*/ 1277 h 10000"/>
                <a:gd name="connsiteX9" fmla="*/ 8948 w 10000"/>
                <a:gd name="connsiteY9" fmla="*/ 1493 h 10000"/>
                <a:gd name="connsiteX10" fmla="*/ 9107 w 10000"/>
                <a:gd name="connsiteY10" fmla="*/ 1708 h 10000"/>
                <a:gd name="connsiteX11" fmla="*/ 9266 w 10000"/>
                <a:gd name="connsiteY11" fmla="*/ 1940 h 10000"/>
                <a:gd name="connsiteX12" fmla="*/ 9405 w 10000"/>
                <a:gd name="connsiteY12" fmla="*/ 2172 h 10000"/>
                <a:gd name="connsiteX13" fmla="*/ 9524 w 10000"/>
                <a:gd name="connsiteY13" fmla="*/ 2405 h 10000"/>
                <a:gd name="connsiteX14" fmla="*/ 9643 w 10000"/>
                <a:gd name="connsiteY14" fmla="*/ 2653 h 10000"/>
                <a:gd name="connsiteX15" fmla="*/ 9742 w 10000"/>
                <a:gd name="connsiteY15" fmla="*/ 2902 h 10000"/>
                <a:gd name="connsiteX16" fmla="*/ 9821 w 10000"/>
                <a:gd name="connsiteY16" fmla="*/ 3151 h 10000"/>
                <a:gd name="connsiteX17" fmla="*/ 9881 w 10000"/>
                <a:gd name="connsiteY17" fmla="*/ 3400 h 10000"/>
                <a:gd name="connsiteX18" fmla="*/ 9940 w 10000"/>
                <a:gd name="connsiteY18" fmla="*/ 3648 h 10000"/>
                <a:gd name="connsiteX19" fmla="*/ 9980 w 10000"/>
                <a:gd name="connsiteY19" fmla="*/ 3914 h 10000"/>
                <a:gd name="connsiteX20" fmla="*/ 10000 w 10000"/>
                <a:gd name="connsiteY20" fmla="*/ 4179 h 10000"/>
                <a:gd name="connsiteX21" fmla="*/ 10000 w 10000"/>
                <a:gd name="connsiteY21" fmla="*/ 4428 h 10000"/>
                <a:gd name="connsiteX22" fmla="*/ 10000 w 10000"/>
                <a:gd name="connsiteY22" fmla="*/ 4693 h 10000"/>
                <a:gd name="connsiteX23" fmla="*/ 9980 w 10000"/>
                <a:gd name="connsiteY23" fmla="*/ 4959 h 10000"/>
                <a:gd name="connsiteX24" fmla="*/ 9940 w 10000"/>
                <a:gd name="connsiteY24" fmla="*/ 5224 h 10000"/>
                <a:gd name="connsiteX25" fmla="*/ 9901 w 10000"/>
                <a:gd name="connsiteY25" fmla="*/ 5489 h 10000"/>
                <a:gd name="connsiteX26" fmla="*/ 9841 w 10000"/>
                <a:gd name="connsiteY26" fmla="*/ 5738 h 10000"/>
                <a:gd name="connsiteX27" fmla="*/ 9762 w 10000"/>
                <a:gd name="connsiteY27" fmla="*/ 6003 h 10000"/>
                <a:gd name="connsiteX28" fmla="*/ 9663 w 10000"/>
                <a:gd name="connsiteY28" fmla="*/ 6252 h 10000"/>
                <a:gd name="connsiteX29" fmla="*/ 9544 w 10000"/>
                <a:gd name="connsiteY29" fmla="*/ 6517 h 10000"/>
                <a:gd name="connsiteX30" fmla="*/ 9425 w 10000"/>
                <a:gd name="connsiteY30" fmla="*/ 6766 h 10000"/>
                <a:gd name="connsiteX31" fmla="*/ 9286 w 10000"/>
                <a:gd name="connsiteY31" fmla="*/ 7015 h 10000"/>
                <a:gd name="connsiteX32" fmla="*/ 9127 w 10000"/>
                <a:gd name="connsiteY32" fmla="*/ 7247 h 10000"/>
                <a:gd name="connsiteX33" fmla="*/ 8948 w 10000"/>
                <a:gd name="connsiteY33" fmla="*/ 7496 h 10000"/>
                <a:gd name="connsiteX34" fmla="*/ 8948 w 10000"/>
                <a:gd name="connsiteY34" fmla="*/ 7496 h 10000"/>
                <a:gd name="connsiteX35" fmla="*/ 8770 w 10000"/>
                <a:gd name="connsiteY35" fmla="*/ 7728 h 10000"/>
                <a:gd name="connsiteX36" fmla="*/ 8571 w 10000"/>
                <a:gd name="connsiteY36" fmla="*/ 7944 h 10000"/>
                <a:gd name="connsiteX37" fmla="*/ 8353 w 10000"/>
                <a:gd name="connsiteY37" fmla="*/ 8159 h 10000"/>
                <a:gd name="connsiteX38" fmla="*/ 8135 w 10000"/>
                <a:gd name="connsiteY38" fmla="*/ 8358 h 10000"/>
                <a:gd name="connsiteX39" fmla="*/ 7917 w 10000"/>
                <a:gd name="connsiteY39" fmla="*/ 8541 h 10000"/>
                <a:gd name="connsiteX40" fmla="*/ 7679 w 10000"/>
                <a:gd name="connsiteY40" fmla="*/ 8723 h 10000"/>
                <a:gd name="connsiteX41" fmla="*/ 7421 w 10000"/>
                <a:gd name="connsiteY41" fmla="*/ 8889 h 10000"/>
                <a:gd name="connsiteX42" fmla="*/ 7163 w 10000"/>
                <a:gd name="connsiteY42" fmla="*/ 9038 h 10000"/>
                <a:gd name="connsiteX43" fmla="*/ 6905 w 10000"/>
                <a:gd name="connsiteY43" fmla="*/ 9187 h 10000"/>
                <a:gd name="connsiteX44" fmla="*/ 6627 w 10000"/>
                <a:gd name="connsiteY44" fmla="*/ 9320 h 10000"/>
                <a:gd name="connsiteX45" fmla="*/ 6349 w 10000"/>
                <a:gd name="connsiteY45" fmla="*/ 9436 h 10000"/>
                <a:gd name="connsiteX46" fmla="*/ 6071 w 10000"/>
                <a:gd name="connsiteY46" fmla="*/ 9552 h 10000"/>
                <a:gd name="connsiteX47" fmla="*/ 5774 w 10000"/>
                <a:gd name="connsiteY47" fmla="*/ 9652 h 10000"/>
                <a:gd name="connsiteX48" fmla="*/ 5496 w 10000"/>
                <a:gd name="connsiteY48" fmla="*/ 9735 h 10000"/>
                <a:gd name="connsiteX49" fmla="*/ 5198 w 10000"/>
                <a:gd name="connsiteY49" fmla="*/ 9801 h 10000"/>
                <a:gd name="connsiteX50" fmla="*/ 4881 w 10000"/>
                <a:gd name="connsiteY50" fmla="*/ 9867 h 10000"/>
                <a:gd name="connsiteX51" fmla="*/ 4583 w 10000"/>
                <a:gd name="connsiteY51" fmla="*/ 9917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7 h 10000"/>
                <a:gd name="connsiteX59" fmla="*/ 2083 w 10000"/>
                <a:gd name="connsiteY59" fmla="*/ 9867 h 10000"/>
                <a:gd name="connsiteX60" fmla="*/ 1786 w 10000"/>
                <a:gd name="connsiteY60" fmla="*/ 9801 h 10000"/>
                <a:gd name="connsiteX61" fmla="*/ 1468 w 10000"/>
                <a:gd name="connsiteY61" fmla="*/ 9735 h 10000"/>
                <a:gd name="connsiteX62" fmla="*/ 1171 w 10000"/>
                <a:gd name="connsiteY62" fmla="*/ 9635 h 10000"/>
                <a:gd name="connsiteX63" fmla="*/ 873 w 10000"/>
                <a:gd name="connsiteY63" fmla="*/ 9536 h 10000"/>
                <a:gd name="connsiteX64" fmla="*/ 575 w 10000"/>
                <a:gd name="connsiteY64" fmla="*/ 9420 h 10000"/>
                <a:gd name="connsiteX65" fmla="*/ 278 w 10000"/>
                <a:gd name="connsiteY65" fmla="*/ 9287 h 10000"/>
                <a:gd name="connsiteX66" fmla="*/ 0 w 10000"/>
                <a:gd name="connsiteY66" fmla="*/ 9138 h 10000"/>
                <a:gd name="connsiteX67" fmla="*/ 7240 w 10000"/>
                <a:gd name="connsiteY67" fmla="*/ 65 h 10000"/>
                <a:gd name="connsiteX0" fmla="*/ 6927 w 10000"/>
                <a:gd name="connsiteY0" fmla="*/ 98 h 10000"/>
                <a:gd name="connsiteX1" fmla="*/ 7123 w 10000"/>
                <a:gd name="connsiteY1" fmla="*/ 0 h 10000"/>
                <a:gd name="connsiteX2" fmla="*/ 7401 w 10000"/>
                <a:gd name="connsiteY2" fmla="*/ 149 h 10000"/>
                <a:gd name="connsiteX3" fmla="*/ 7659 w 10000"/>
                <a:gd name="connsiteY3" fmla="*/ 315 h 10000"/>
                <a:gd name="connsiteX4" fmla="*/ 7897 w 10000"/>
                <a:gd name="connsiteY4" fmla="*/ 498 h 10000"/>
                <a:gd name="connsiteX5" fmla="*/ 8135 w 10000"/>
                <a:gd name="connsiteY5" fmla="*/ 680 h 10000"/>
                <a:gd name="connsiteX6" fmla="*/ 8353 w 10000"/>
                <a:gd name="connsiteY6" fmla="*/ 862 h 10000"/>
                <a:gd name="connsiteX7" fmla="*/ 8571 w 10000"/>
                <a:gd name="connsiteY7" fmla="*/ 1061 h 10000"/>
                <a:gd name="connsiteX8" fmla="*/ 8770 w 10000"/>
                <a:gd name="connsiteY8" fmla="*/ 1277 h 10000"/>
                <a:gd name="connsiteX9" fmla="*/ 8948 w 10000"/>
                <a:gd name="connsiteY9" fmla="*/ 1493 h 10000"/>
                <a:gd name="connsiteX10" fmla="*/ 9107 w 10000"/>
                <a:gd name="connsiteY10" fmla="*/ 1708 h 10000"/>
                <a:gd name="connsiteX11" fmla="*/ 9266 w 10000"/>
                <a:gd name="connsiteY11" fmla="*/ 1940 h 10000"/>
                <a:gd name="connsiteX12" fmla="*/ 9405 w 10000"/>
                <a:gd name="connsiteY12" fmla="*/ 2172 h 10000"/>
                <a:gd name="connsiteX13" fmla="*/ 9524 w 10000"/>
                <a:gd name="connsiteY13" fmla="*/ 2405 h 10000"/>
                <a:gd name="connsiteX14" fmla="*/ 9643 w 10000"/>
                <a:gd name="connsiteY14" fmla="*/ 2653 h 10000"/>
                <a:gd name="connsiteX15" fmla="*/ 9742 w 10000"/>
                <a:gd name="connsiteY15" fmla="*/ 2902 h 10000"/>
                <a:gd name="connsiteX16" fmla="*/ 9821 w 10000"/>
                <a:gd name="connsiteY16" fmla="*/ 3151 h 10000"/>
                <a:gd name="connsiteX17" fmla="*/ 9881 w 10000"/>
                <a:gd name="connsiteY17" fmla="*/ 3400 h 10000"/>
                <a:gd name="connsiteX18" fmla="*/ 9940 w 10000"/>
                <a:gd name="connsiteY18" fmla="*/ 3648 h 10000"/>
                <a:gd name="connsiteX19" fmla="*/ 9980 w 10000"/>
                <a:gd name="connsiteY19" fmla="*/ 3914 h 10000"/>
                <a:gd name="connsiteX20" fmla="*/ 10000 w 10000"/>
                <a:gd name="connsiteY20" fmla="*/ 4179 h 10000"/>
                <a:gd name="connsiteX21" fmla="*/ 10000 w 10000"/>
                <a:gd name="connsiteY21" fmla="*/ 4428 h 10000"/>
                <a:gd name="connsiteX22" fmla="*/ 10000 w 10000"/>
                <a:gd name="connsiteY22" fmla="*/ 4693 h 10000"/>
                <a:gd name="connsiteX23" fmla="*/ 9980 w 10000"/>
                <a:gd name="connsiteY23" fmla="*/ 4959 h 10000"/>
                <a:gd name="connsiteX24" fmla="*/ 9940 w 10000"/>
                <a:gd name="connsiteY24" fmla="*/ 5224 h 10000"/>
                <a:gd name="connsiteX25" fmla="*/ 9901 w 10000"/>
                <a:gd name="connsiteY25" fmla="*/ 5489 h 10000"/>
                <a:gd name="connsiteX26" fmla="*/ 9841 w 10000"/>
                <a:gd name="connsiteY26" fmla="*/ 5738 h 10000"/>
                <a:gd name="connsiteX27" fmla="*/ 9762 w 10000"/>
                <a:gd name="connsiteY27" fmla="*/ 6003 h 10000"/>
                <a:gd name="connsiteX28" fmla="*/ 9663 w 10000"/>
                <a:gd name="connsiteY28" fmla="*/ 6252 h 10000"/>
                <a:gd name="connsiteX29" fmla="*/ 9544 w 10000"/>
                <a:gd name="connsiteY29" fmla="*/ 6517 h 10000"/>
                <a:gd name="connsiteX30" fmla="*/ 9425 w 10000"/>
                <a:gd name="connsiteY30" fmla="*/ 6766 h 10000"/>
                <a:gd name="connsiteX31" fmla="*/ 9286 w 10000"/>
                <a:gd name="connsiteY31" fmla="*/ 7015 h 10000"/>
                <a:gd name="connsiteX32" fmla="*/ 9127 w 10000"/>
                <a:gd name="connsiteY32" fmla="*/ 7247 h 10000"/>
                <a:gd name="connsiteX33" fmla="*/ 8948 w 10000"/>
                <a:gd name="connsiteY33" fmla="*/ 7496 h 10000"/>
                <a:gd name="connsiteX34" fmla="*/ 8948 w 10000"/>
                <a:gd name="connsiteY34" fmla="*/ 7496 h 10000"/>
                <a:gd name="connsiteX35" fmla="*/ 8770 w 10000"/>
                <a:gd name="connsiteY35" fmla="*/ 7728 h 10000"/>
                <a:gd name="connsiteX36" fmla="*/ 8571 w 10000"/>
                <a:gd name="connsiteY36" fmla="*/ 7944 h 10000"/>
                <a:gd name="connsiteX37" fmla="*/ 8353 w 10000"/>
                <a:gd name="connsiteY37" fmla="*/ 8159 h 10000"/>
                <a:gd name="connsiteX38" fmla="*/ 8135 w 10000"/>
                <a:gd name="connsiteY38" fmla="*/ 8358 h 10000"/>
                <a:gd name="connsiteX39" fmla="*/ 7917 w 10000"/>
                <a:gd name="connsiteY39" fmla="*/ 8541 h 10000"/>
                <a:gd name="connsiteX40" fmla="*/ 7679 w 10000"/>
                <a:gd name="connsiteY40" fmla="*/ 8723 h 10000"/>
                <a:gd name="connsiteX41" fmla="*/ 7421 w 10000"/>
                <a:gd name="connsiteY41" fmla="*/ 8889 h 10000"/>
                <a:gd name="connsiteX42" fmla="*/ 7163 w 10000"/>
                <a:gd name="connsiteY42" fmla="*/ 9038 h 10000"/>
                <a:gd name="connsiteX43" fmla="*/ 6905 w 10000"/>
                <a:gd name="connsiteY43" fmla="*/ 9187 h 10000"/>
                <a:gd name="connsiteX44" fmla="*/ 6627 w 10000"/>
                <a:gd name="connsiteY44" fmla="*/ 9320 h 10000"/>
                <a:gd name="connsiteX45" fmla="*/ 6349 w 10000"/>
                <a:gd name="connsiteY45" fmla="*/ 9436 h 10000"/>
                <a:gd name="connsiteX46" fmla="*/ 6071 w 10000"/>
                <a:gd name="connsiteY46" fmla="*/ 9552 h 10000"/>
                <a:gd name="connsiteX47" fmla="*/ 5774 w 10000"/>
                <a:gd name="connsiteY47" fmla="*/ 9652 h 10000"/>
                <a:gd name="connsiteX48" fmla="*/ 5496 w 10000"/>
                <a:gd name="connsiteY48" fmla="*/ 9735 h 10000"/>
                <a:gd name="connsiteX49" fmla="*/ 5198 w 10000"/>
                <a:gd name="connsiteY49" fmla="*/ 9801 h 10000"/>
                <a:gd name="connsiteX50" fmla="*/ 4881 w 10000"/>
                <a:gd name="connsiteY50" fmla="*/ 9867 h 10000"/>
                <a:gd name="connsiteX51" fmla="*/ 4583 w 10000"/>
                <a:gd name="connsiteY51" fmla="*/ 9917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7 h 10000"/>
                <a:gd name="connsiteX59" fmla="*/ 2083 w 10000"/>
                <a:gd name="connsiteY59" fmla="*/ 9867 h 10000"/>
                <a:gd name="connsiteX60" fmla="*/ 1786 w 10000"/>
                <a:gd name="connsiteY60" fmla="*/ 9801 h 10000"/>
                <a:gd name="connsiteX61" fmla="*/ 1468 w 10000"/>
                <a:gd name="connsiteY61" fmla="*/ 9735 h 10000"/>
                <a:gd name="connsiteX62" fmla="*/ 1171 w 10000"/>
                <a:gd name="connsiteY62" fmla="*/ 9635 h 10000"/>
                <a:gd name="connsiteX63" fmla="*/ 873 w 10000"/>
                <a:gd name="connsiteY63" fmla="*/ 9536 h 10000"/>
                <a:gd name="connsiteX64" fmla="*/ 575 w 10000"/>
                <a:gd name="connsiteY64" fmla="*/ 9420 h 10000"/>
                <a:gd name="connsiteX65" fmla="*/ 278 w 10000"/>
                <a:gd name="connsiteY65" fmla="*/ 9287 h 10000"/>
                <a:gd name="connsiteX66" fmla="*/ 0 w 10000"/>
                <a:gd name="connsiteY66" fmla="*/ 9138 h 10000"/>
                <a:gd name="connsiteX67" fmla="*/ 6927 w 10000"/>
                <a:gd name="connsiteY67" fmla="*/ 98 h 10000"/>
                <a:gd name="connsiteX0" fmla="*/ 0 w 10000"/>
                <a:gd name="connsiteY0" fmla="*/ 9138 h 10000"/>
                <a:gd name="connsiteX1" fmla="*/ 7123 w 10000"/>
                <a:gd name="connsiteY1" fmla="*/ 0 h 10000"/>
                <a:gd name="connsiteX2" fmla="*/ 7401 w 10000"/>
                <a:gd name="connsiteY2" fmla="*/ 149 h 10000"/>
                <a:gd name="connsiteX3" fmla="*/ 7659 w 10000"/>
                <a:gd name="connsiteY3" fmla="*/ 315 h 10000"/>
                <a:gd name="connsiteX4" fmla="*/ 7897 w 10000"/>
                <a:gd name="connsiteY4" fmla="*/ 498 h 10000"/>
                <a:gd name="connsiteX5" fmla="*/ 8135 w 10000"/>
                <a:gd name="connsiteY5" fmla="*/ 680 h 10000"/>
                <a:gd name="connsiteX6" fmla="*/ 8353 w 10000"/>
                <a:gd name="connsiteY6" fmla="*/ 862 h 10000"/>
                <a:gd name="connsiteX7" fmla="*/ 8571 w 10000"/>
                <a:gd name="connsiteY7" fmla="*/ 1061 h 10000"/>
                <a:gd name="connsiteX8" fmla="*/ 8770 w 10000"/>
                <a:gd name="connsiteY8" fmla="*/ 1277 h 10000"/>
                <a:gd name="connsiteX9" fmla="*/ 8948 w 10000"/>
                <a:gd name="connsiteY9" fmla="*/ 1493 h 10000"/>
                <a:gd name="connsiteX10" fmla="*/ 9107 w 10000"/>
                <a:gd name="connsiteY10" fmla="*/ 1708 h 10000"/>
                <a:gd name="connsiteX11" fmla="*/ 9266 w 10000"/>
                <a:gd name="connsiteY11" fmla="*/ 1940 h 10000"/>
                <a:gd name="connsiteX12" fmla="*/ 9405 w 10000"/>
                <a:gd name="connsiteY12" fmla="*/ 2172 h 10000"/>
                <a:gd name="connsiteX13" fmla="*/ 9524 w 10000"/>
                <a:gd name="connsiteY13" fmla="*/ 2405 h 10000"/>
                <a:gd name="connsiteX14" fmla="*/ 9643 w 10000"/>
                <a:gd name="connsiteY14" fmla="*/ 2653 h 10000"/>
                <a:gd name="connsiteX15" fmla="*/ 9742 w 10000"/>
                <a:gd name="connsiteY15" fmla="*/ 2902 h 10000"/>
                <a:gd name="connsiteX16" fmla="*/ 9821 w 10000"/>
                <a:gd name="connsiteY16" fmla="*/ 3151 h 10000"/>
                <a:gd name="connsiteX17" fmla="*/ 9881 w 10000"/>
                <a:gd name="connsiteY17" fmla="*/ 3400 h 10000"/>
                <a:gd name="connsiteX18" fmla="*/ 9940 w 10000"/>
                <a:gd name="connsiteY18" fmla="*/ 3648 h 10000"/>
                <a:gd name="connsiteX19" fmla="*/ 9980 w 10000"/>
                <a:gd name="connsiteY19" fmla="*/ 3914 h 10000"/>
                <a:gd name="connsiteX20" fmla="*/ 10000 w 10000"/>
                <a:gd name="connsiteY20" fmla="*/ 4179 h 10000"/>
                <a:gd name="connsiteX21" fmla="*/ 10000 w 10000"/>
                <a:gd name="connsiteY21" fmla="*/ 4428 h 10000"/>
                <a:gd name="connsiteX22" fmla="*/ 10000 w 10000"/>
                <a:gd name="connsiteY22" fmla="*/ 4693 h 10000"/>
                <a:gd name="connsiteX23" fmla="*/ 9980 w 10000"/>
                <a:gd name="connsiteY23" fmla="*/ 4959 h 10000"/>
                <a:gd name="connsiteX24" fmla="*/ 9940 w 10000"/>
                <a:gd name="connsiteY24" fmla="*/ 5224 h 10000"/>
                <a:gd name="connsiteX25" fmla="*/ 9901 w 10000"/>
                <a:gd name="connsiteY25" fmla="*/ 5489 h 10000"/>
                <a:gd name="connsiteX26" fmla="*/ 9841 w 10000"/>
                <a:gd name="connsiteY26" fmla="*/ 5738 h 10000"/>
                <a:gd name="connsiteX27" fmla="*/ 9762 w 10000"/>
                <a:gd name="connsiteY27" fmla="*/ 6003 h 10000"/>
                <a:gd name="connsiteX28" fmla="*/ 9663 w 10000"/>
                <a:gd name="connsiteY28" fmla="*/ 6252 h 10000"/>
                <a:gd name="connsiteX29" fmla="*/ 9544 w 10000"/>
                <a:gd name="connsiteY29" fmla="*/ 6517 h 10000"/>
                <a:gd name="connsiteX30" fmla="*/ 9425 w 10000"/>
                <a:gd name="connsiteY30" fmla="*/ 6766 h 10000"/>
                <a:gd name="connsiteX31" fmla="*/ 9286 w 10000"/>
                <a:gd name="connsiteY31" fmla="*/ 7015 h 10000"/>
                <a:gd name="connsiteX32" fmla="*/ 9127 w 10000"/>
                <a:gd name="connsiteY32" fmla="*/ 7247 h 10000"/>
                <a:gd name="connsiteX33" fmla="*/ 8948 w 10000"/>
                <a:gd name="connsiteY33" fmla="*/ 7496 h 10000"/>
                <a:gd name="connsiteX34" fmla="*/ 8948 w 10000"/>
                <a:gd name="connsiteY34" fmla="*/ 7496 h 10000"/>
                <a:gd name="connsiteX35" fmla="*/ 8770 w 10000"/>
                <a:gd name="connsiteY35" fmla="*/ 7728 h 10000"/>
                <a:gd name="connsiteX36" fmla="*/ 8571 w 10000"/>
                <a:gd name="connsiteY36" fmla="*/ 7944 h 10000"/>
                <a:gd name="connsiteX37" fmla="*/ 8353 w 10000"/>
                <a:gd name="connsiteY37" fmla="*/ 8159 h 10000"/>
                <a:gd name="connsiteX38" fmla="*/ 8135 w 10000"/>
                <a:gd name="connsiteY38" fmla="*/ 8358 h 10000"/>
                <a:gd name="connsiteX39" fmla="*/ 7917 w 10000"/>
                <a:gd name="connsiteY39" fmla="*/ 8541 h 10000"/>
                <a:gd name="connsiteX40" fmla="*/ 7679 w 10000"/>
                <a:gd name="connsiteY40" fmla="*/ 8723 h 10000"/>
                <a:gd name="connsiteX41" fmla="*/ 7421 w 10000"/>
                <a:gd name="connsiteY41" fmla="*/ 8889 h 10000"/>
                <a:gd name="connsiteX42" fmla="*/ 7163 w 10000"/>
                <a:gd name="connsiteY42" fmla="*/ 9038 h 10000"/>
                <a:gd name="connsiteX43" fmla="*/ 6905 w 10000"/>
                <a:gd name="connsiteY43" fmla="*/ 9187 h 10000"/>
                <a:gd name="connsiteX44" fmla="*/ 6627 w 10000"/>
                <a:gd name="connsiteY44" fmla="*/ 9320 h 10000"/>
                <a:gd name="connsiteX45" fmla="*/ 6349 w 10000"/>
                <a:gd name="connsiteY45" fmla="*/ 9436 h 10000"/>
                <a:gd name="connsiteX46" fmla="*/ 6071 w 10000"/>
                <a:gd name="connsiteY46" fmla="*/ 9552 h 10000"/>
                <a:gd name="connsiteX47" fmla="*/ 5774 w 10000"/>
                <a:gd name="connsiteY47" fmla="*/ 9652 h 10000"/>
                <a:gd name="connsiteX48" fmla="*/ 5496 w 10000"/>
                <a:gd name="connsiteY48" fmla="*/ 9735 h 10000"/>
                <a:gd name="connsiteX49" fmla="*/ 5198 w 10000"/>
                <a:gd name="connsiteY49" fmla="*/ 9801 h 10000"/>
                <a:gd name="connsiteX50" fmla="*/ 4881 w 10000"/>
                <a:gd name="connsiteY50" fmla="*/ 9867 h 10000"/>
                <a:gd name="connsiteX51" fmla="*/ 4583 w 10000"/>
                <a:gd name="connsiteY51" fmla="*/ 9917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7 h 10000"/>
                <a:gd name="connsiteX59" fmla="*/ 2083 w 10000"/>
                <a:gd name="connsiteY59" fmla="*/ 9867 h 10000"/>
                <a:gd name="connsiteX60" fmla="*/ 1786 w 10000"/>
                <a:gd name="connsiteY60" fmla="*/ 9801 h 10000"/>
                <a:gd name="connsiteX61" fmla="*/ 1468 w 10000"/>
                <a:gd name="connsiteY61" fmla="*/ 9735 h 10000"/>
                <a:gd name="connsiteX62" fmla="*/ 1171 w 10000"/>
                <a:gd name="connsiteY62" fmla="*/ 9635 h 10000"/>
                <a:gd name="connsiteX63" fmla="*/ 873 w 10000"/>
                <a:gd name="connsiteY63" fmla="*/ 9536 h 10000"/>
                <a:gd name="connsiteX64" fmla="*/ 575 w 10000"/>
                <a:gd name="connsiteY64" fmla="*/ 9420 h 10000"/>
                <a:gd name="connsiteX65" fmla="*/ 278 w 10000"/>
                <a:gd name="connsiteY65" fmla="*/ 9287 h 10000"/>
                <a:gd name="connsiteX66" fmla="*/ 0 w 10000"/>
                <a:gd name="connsiteY66" fmla="*/ 9138 h 10000"/>
                <a:gd name="connsiteX0" fmla="*/ 0 w 10000"/>
                <a:gd name="connsiteY0" fmla="*/ 9073 h 9935"/>
                <a:gd name="connsiteX1" fmla="*/ 7221 w 10000"/>
                <a:gd name="connsiteY1" fmla="*/ 0 h 9935"/>
                <a:gd name="connsiteX2" fmla="*/ 7401 w 10000"/>
                <a:gd name="connsiteY2" fmla="*/ 84 h 9935"/>
                <a:gd name="connsiteX3" fmla="*/ 7659 w 10000"/>
                <a:gd name="connsiteY3" fmla="*/ 250 h 9935"/>
                <a:gd name="connsiteX4" fmla="*/ 7897 w 10000"/>
                <a:gd name="connsiteY4" fmla="*/ 433 h 9935"/>
                <a:gd name="connsiteX5" fmla="*/ 8135 w 10000"/>
                <a:gd name="connsiteY5" fmla="*/ 615 h 9935"/>
                <a:gd name="connsiteX6" fmla="*/ 8353 w 10000"/>
                <a:gd name="connsiteY6" fmla="*/ 797 h 9935"/>
                <a:gd name="connsiteX7" fmla="*/ 8571 w 10000"/>
                <a:gd name="connsiteY7" fmla="*/ 996 h 9935"/>
                <a:gd name="connsiteX8" fmla="*/ 8770 w 10000"/>
                <a:gd name="connsiteY8" fmla="*/ 1212 h 9935"/>
                <a:gd name="connsiteX9" fmla="*/ 8948 w 10000"/>
                <a:gd name="connsiteY9" fmla="*/ 1428 h 9935"/>
                <a:gd name="connsiteX10" fmla="*/ 9107 w 10000"/>
                <a:gd name="connsiteY10" fmla="*/ 1643 h 9935"/>
                <a:gd name="connsiteX11" fmla="*/ 9266 w 10000"/>
                <a:gd name="connsiteY11" fmla="*/ 1875 h 9935"/>
                <a:gd name="connsiteX12" fmla="*/ 9405 w 10000"/>
                <a:gd name="connsiteY12" fmla="*/ 2107 h 9935"/>
                <a:gd name="connsiteX13" fmla="*/ 9524 w 10000"/>
                <a:gd name="connsiteY13" fmla="*/ 2340 h 9935"/>
                <a:gd name="connsiteX14" fmla="*/ 9643 w 10000"/>
                <a:gd name="connsiteY14" fmla="*/ 2588 h 9935"/>
                <a:gd name="connsiteX15" fmla="*/ 9742 w 10000"/>
                <a:gd name="connsiteY15" fmla="*/ 2837 h 9935"/>
                <a:gd name="connsiteX16" fmla="*/ 9821 w 10000"/>
                <a:gd name="connsiteY16" fmla="*/ 3086 h 9935"/>
                <a:gd name="connsiteX17" fmla="*/ 9881 w 10000"/>
                <a:gd name="connsiteY17" fmla="*/ 3335 h 9935"/>
                <a:gd name="connsiteX18" fmla="*/ 9940 w 10000"/>
                <a:gd name="connsiteY18" fmla="*/ 3583 h 9935"/>
                <a:gd name="connsiteX19" fmla="*/ 9980 w 10000"/>
                <a:gd name="connsiteY19" fmla="*/ 3849 h 9935"/>
                <a:gd name="connsiteX20" fmla="*/ 10000 w 10000"/>
                <a:gd name="connsiteY20" fmla="*/ 4114 h 9935"/>
                <a:gd name="connsiteX21" fmla="*/ 10000 w 10000"/>
                <a:gd name="connsiteY21" fmla="*/ 4363 h 9935"/>
                <a:gd name="connsiteX22" fmla="*/ 10000 w 10000"/>
                <a:gd name="connsiteY22" fmla="*/ 4628 h 9935"/>
                <a:gd name="connsiteX23" fmla="*/ 9980 w 10000"/>
                <a:gd name="connsiteY23" fmla="*/ 4894 h 9935"/>
                <a:gd name="connsiteX24" fmla="*/ 9940 w 10000"/>
                <a:gd name="connsiteY24" fmla="*/ 5159 h 9935"/>
                <a:gd name="connsiteX25" fmla="*/ 9901 w 10000"/>
                <a:gd name="connsiteY25" fmla="*/ 5424 h 9935"/>
                <a:gd name="connsiteX26" fmla="*/ 9841 w 10000"/>
                <a:gd name="connsiteY26" fmla="*/ 5673 h 9935"/>
                <a:gd name="connsiteX27" fmla="*/ 9762 w 10000"/>
                <a:gd name="connsiteY27" fmla="*/ 5938 h 9935"/>
                <a:gd name="connsiteX28" fmla="*/ 9663 w 10000"/>
                <a:gd name="connsiteY28" fmla="*/ 6187 h 9935"/>
                <a:gd name="connsiteX29" fmla="*/ 9544 w 10000"/>
                <a:gd name="connsiteY29" fmla="*/ 6452 h 9935"/>
                <a:gd name="connsiteX30" fmla="*/ 9425 w 10000"/>
                <a:gd name="connsiteY30" fmla="*/ 6701 h 9935"/>
                <a:gd name="connsiteX31" fmla="*/ 9286 w 10000"/>
                <a:gd name="connsiteY31" fmla="*/ 6950 h 9935"/>
                <a:gd name="connsiteX32" fmla="*/ 9127 w 10000"/>
                <a:gd name="connsiteY32" fmla="*/ 7182 h 9935"/>
                <a:gd name="connsiteX33" fmla="*/ 8948 w 10000"/>
                <a:gd name="connsiteY33" fmla="*/ 7431 h 9935"/>
                <a:gd name="connsiteX34" fmla="*/ 8948 w 10000"/>
                <a:gd name="connsiteY34" fmla="*/ 7431 h 9935"/>
                <a:gd name="connsiteX35" fmla="*/ 8770 w 10000"/>
                <a:gd name="connsiteY35" fmla="*/ 7663 h 9935"/>
                <a:gd name="connsiteX36" fmla="*/ 8571 w 10000"/>
                <a:gd name="connsiteY36" fmla="*/ 7879 h 9935"/>
                <a:gd name="connsiteX37" fmla="*/ 8353 w 10000"/>
                <a:gd name="connsiteY37" fmla="*/ 8094 h 9935"/>
                <a:gd name="connsiteX38" fmla="*/ 8135 w 10000"/>
                <a:gd name="connsiteY38" fmla="*/ 8293 h 9935"/>
                <a:gd name="connsiteX39" fmla="*/ 7917 w 10000"/>
                <a:gd name="connsiteY39" fmla="*/ 8476 h 9935"/>
                <a:gd name="connsiteX40" fmla="*/ 7679 w 10000"/>
                <a:gd name="connsiteY40" fmla="*/ 8658 h 9935"/>
                <a:gd name="connsiteX41" fmla="*/ 7421 w 10000"/>
                <a:gd name="connsiteY41" fmla="*/ 8824 h 9935"/>
                <a:gd name="connsiteX42" fmla="*/ 7163 w 10000"/>
                <a:gd name="connsiteY42" fmla="*/ 8973 h 9935"/>
                <a:gd name="connsiteX43" fmla="*/ 6905 w 10000"/>
                <a:gd name="connsiteY43" fmla="*/ 9122 h 9935"/>
                <a:gd name="connsiteX44" fmla="*/ 6627 w 10000"/>
                <a:gd name="connsiteY44" fmla="*/ 9255 h 9935"/>
                <a:gd name="connsiteX45" fmla="*/ 6349 w 10000"/>
                <a:gd name="connsiteY45" fmla="*/ 9371 h 9935"/>
                <a:gd name="connsiteX46" fmla="*/ 6071 w 10000"/>
                <a:gd name="connsiteY46" fmla="*/ 9487 h 9935"/>
                <a:gd name="connsiteX47" fmla="*/ 5774 w 10000"/>
                <a:gd name="connsiteY47" fmla="*/ 9587 h 9935"/>
                <a:gd name="connsiteX48" fmla="*/ 5496 w 10000"/>
                <a:gd name="connsiteY48" fmla="*/ 9670 h 9935"/>
                <a:gd name="connsiteX49" fmla="*/ 5198 w 10000"/>
                <a:gd name="connsiteY49" fmla="*/ 9736 h 9935"/>
                <a:gd name="connsiteX50" fmla="*/ 4881 w 10000"/>
                <a:gd name="connsiteY50" fmla="*/ 9802 h 9935"/>
                <a:gd name="connsiteX51" fmla="*/ 4583 w 10000"/>
                <a:gd name="connsiteY51" fmla="*/ 9852 h 9935"/>
                <a:gd name="connsiteX52" fmla="*/ 4266 w 10000"/>
                <a:gd name="connsiteY52" fmla="*/ 9885 h 9935"/>
                <a:gd name="connsiteX53" fmla="*/ 3968 w 10000"/>
                <a:gd name="connsiteY53" fmla="*/ 9918 h 9935"/>
                <a:gd name="connsiteX54" fmla="*/ 3651 w 10000"/>
                <a:gd name="connsiteY54" fmla="*/ 9935 h 9935"/>
                <a:gd name="connsiteX55" fmla="*/ 3333 w 10000"/>
                <a:gd name="connsiteY55" fmla="*/ 9935 h 9935"/>
                <a:gd name="connsiteX56" fmla="*/ 3036 w 10000"/>
                <a:gd name="connsiteY56" fmla="*/ 9918 h 9935"/>
                <a:gd name="connsiteX57" fmla="*/ 2718 w 10000"/>
                <a:gd name="connsiteY57" fmla="*/ 9885 h 9935"/>
                <a:gd name="connsiteX58" fmla="*/ 2401 w 10000"/>
                <a:gd name="connsiteY58" fmla="*/ 9852 h 9935"/>
                <a:gd name="connsiteX59" fmla="*/ 2083 w 10000"/>
                <a:gd name="connsiteY59" fmla="*/ 9802 h 9935"/>
                <a:gd name="connsiteX60" fmla="*/ 1786 w 10000"/>
                <a:gd name="connsiteY60" fmla="*/ 9736 h 9935"/>
                <a:gd name="connsiteX61" fmla="*/ 1468 w 10000"/>
                <a:gd name="connsiteY61" fmla="*/ 9670 h 9935"/>
                <a:gd name="connsiteX62" fmla="*/ 1171 w 10000"/>
                <a:gd name="connsiteY62" fmla="*/ 9570 h 9935"/>
                <a:gd name="connsiteX63" fmla="*/ 873 w 10000"/>
                <a:gd name="connsiteY63" fmla="*/ 9471 h 9935"/>
                <a:gd name="connsiteX64" fmla="*/ 575 w 10000"/>
                <a:gd name="connsiteY64" fmla="*/ 9355 h 9935"/>
                <a:gd name="connsiteX65" fmla="*/ 278 w 10000"/>
                <a:gd name="connsiteY65" fmla="*/ 9222 h 9935"/>
                <a:gd name="connsiteX66" fmla="*/ 0 w 10000"/>
                <a:gd name="connsiteY66" fmla="*/ 9073 h 9935"/>
                <a:gd name="connsiteX0" fmla="*/ 0 w 10000"/>
                <a:gd name="connsiteY0" fmla="*/ 9132 h 10000"/>
                <a:gd name="connsiteX1" fmla="*/ 7221 w 10000"/>
                <a:gd name="connsiteY1" fmla="*/ 0 h 10000"/>
                <a:gd name="connsiteX2" fmla="*/ 7401 w 10000"/>
                <a:gd name="connsiteY2" fmla="*/ 85 h 10000"/>
                <a:gd name="connsiteX3" fmla="*/ 7659 w 10000"/>
                <a:gd name="connsiteY3" fmla="*/ 252 h 10000"/>
                <a:gd name="connsiteX4" fmla="*/ 7897 w 10000"/>
                <a:gd name="connsiteY4" fmla="*/ 436 h 10000"/>
                <a:gd name="connsiteX5" fmla="*/ 8135 w 10000"/>
                <a:gd name="connsiteY5" fmla="*/ 619 h 10000"/>
                <a:gd name="connsiteX6" fmla="*/ 8353 w 10000"/>
                <a:gd name="connsiteY6" fmla="*/ 802 h 10000"/>
                <a:gd name="connsiteX7" fmla="*/ 8571 w 10000"/>
                <a:gd name="connsiteY7" fmla="*/ 1003 h 10000"/>
                <a:gd name="connsiteX8" fmla="*/ 8770 w 10000"/>
                <a:gd name="connsiteY8" fmla="*/ 1220 h 10000"/>
                <a:gd name="connsiteX9" fmla="*/ 8948 w 10000"/>
                <a:gd name="connsiteY9" fmla="*/ 1437 h 10000"/>
                <a:gd name="connsiteX10" fmla="*/ 9107 w 10000"/>
                <a:gd name="connsiteY10" fmla="*/ 1654 h 10000"/>
                <a:gd name="connsiteX11" fmla="*/ 9266 w 10000"/>
                <a:gd name="connsiteY11" fmla="*/ 1887 h 10000"/>
                <a:gd name="connsiteX12" fmla="*/ 9405 w 10000"/>
                <a:gd name="connsiteY12" fmla="*/ 2121 h 10000"/>
                <a:gd name="connsiteX13" fmla="*/ 9524 w 10000"/>
                <a:gd name="connsiteY13" fmla="*/ 2355 h 10000"/>
                <a:gd name="connsiteX14" fmla="*/ 9643 w 10000"/>
                <a:gd name="connsiteY14" fmla="*/ 2605 h 10000"/>
                <a:gd name="connsiteX15" fmla="*/ 9742 w 10000"/>
                <a:gd name="connsiteY15" fmla="*/ 2856 h 10000"/>
                <a:gd name="connsiteX16" fmla="*/ 9821 w 10000"/>
                <a:gd name="connsiteY16" fmla="*/ 3106 h 10000"/>
                <a:gd name="connsiteX17" fmla="*/ 9881 w 10000"/>
                <a:gd name="connsiteY17" fmla="*/ 3357 h 10000"/>
                <a:gd name="connsiteX18" fmla="*/ 9940 w 10000"/>
                <a:gd name="connsiteY18" fmla="*/ 3606 h 10000"/>
                <a:gd name="connsiteX19" fmla="*/ 9980 w 10000"/>
                <a:gd name="connsiteY19" fmla="*/ 3874 h 10000"/>
                <a:gd name="connsiteX20" fmla="*/ 10000 w 10000"/>
                <a:gd name="connsiteY20" fmla="*/ 4141 h 10000"/>
                <a:gd name="connsiteX21" fmla="*/ 10000 w 10000"/>
                <a:gd name="connsiteY21" fmla="*/ 4392 h 10000"/>
                <a:gd name="connsiteX22" fmla="*/ 10000 w 10000"/>
                <a:gd name="connsiteY22" fmla="*/ 4658 h 10000"/>
                <a:gd name="connsiteX23" fmla="*/ 9980 w 10000"/>
                <a:gd name="connsiteY23" fmla="*/ 4926 h 10000"/>
                <a:gd name="connsiteX24" fmla="*/ 9940 w 10000"/>
                <a:gd name="connsiteY24" fmla="*/ 5193 h 10000"/>
                <a:gd name="connsiteX25" fmla="*/ 9901 w 10000"/>
                <a:gd name="connsiteY25" fmla="*/ 5459 h 10000"/>
                <a:gd name="connsiteX26" fmla="*/ 9841 w 10000"/>
                <a:gd name="connsiteY26" fmla="*/ 5710 h 10000"/>
                <a:gd name="connsiteX27" fmla="*/ 9762 w 10000"/>
                <a:gd name="connsiteY27" fmla="*/ 5977 h 10000"/>
                <a:gd name="connsiteX28" fmla="*/ 9663 w 10000"/>
                <a:gd name="connsiteY28" fmla="*/ 6227 h 10000"/>
                <a:gd name="connsiteX29" fmla="*/ 9544 w 10000"/>
                <a:gd name="connsiteY29" fmla="*/ 6494 h 10000"/>
                <a:gd name="connsiteX30" fmla="*/ 9425 w 10000"/>
                <a:gd name="connsiteY30" fmla="*/ 6745 h 10000"/>
                <a:gd name="connsiteX31" fmla="*/ 9286 w 10000"/>
                <a:gd name="connsiteY31" fmla="*/ 6995 h 10000"/>
                <a:gd name="connsiteX32" fmla="*/ 9127 w 10000"/>
                <a:gd name="connsiteY32" fmla="*/ 7229 h 10000"/>
                <a:gd name="connsiteX33" fmla="*/ 8948 w 10000"/>
                <a:gd name="connsiteY33" fmla="*/ 7480 h 10000"/>
                <a:gd name="connsiteX34" fmla="*/ 8948 w 10000"/>
                <a:gd name="connsiteY34" fmla="*/ 7480 h 10000"/>
                <a:gd name="connsiteX35" fmla="*/ 8770 w 10000"/>
                <a:gd name="connsiteY35" fmla="*/ 7713 h 10000"/>
                <a:gd name="connsiteX36" fmla="*/ 8571 w 10000"/>
                <a:gd name="connsiteY36" fmla="*/ 7931 h 10000"/>
                <a:gd name="connsiteX37" fmla="*/ 8353 w 10000"/>
                <a:gd name="connsiteY37" fmla="*/ 8147 h 10000"/>
                <a:gd name="connsiteX38" fmla="*/ 8135 w 10000"/>
                <a:gd name="connsiteY38" fmla="*/ 8347 h 10000"/>
                <a:gd name="connsiteX39" fmla="*/ 7917 w 10000"/>
                <a:gd name="connsiteY39" fmla="*/ 8531 h 10000"/>
                <a:gd name="connsiteX40" fmla="*/ 7679 w 10000"/>
                <a:gd name="connsiteY40" fmla="*/ 8715 h 10000"/>
                <a:gd name="connsiteX41" fmla="*/ 7421 w 10000"/>
                <a:gd name="connsiteY41" fmla="*/ 8882 h 10000"/>
                <a:gd name="connsiteX42" fmla="*/ 7163 w 10000"/>
                <a:gd name="connsiteY42" fmla="*/ 9032 h 10000"/>
                <a:gd name="connsiteX43" fmla="*/ 6905 w 10000"/>
                <a:gd name="connsiteY43" fmla="*/ 9182 h 10000"/>
                <a:gd name="connsiteX44" fmla="*/ 6627 w 10000"/>
                <a:gd name="connsiteY44" fmla="*/ 9316 h 10000"/>
                <a:gd name="connsiteX45" fmla="*/ 6349 w 10000"/>
                <a:gd name="connsiteY45" fmla="*/ 9432 h 10000"/>
                <a:gd name="connsiteX46" fmla="*/ 6071 w 10000"/>
                <a:gd name="connsiteY46" fmla="*/ 9549 h 10000"/>
                <a:gd name="connsiteX47" fmla="*/ 5774 w 10000"/>
                <a:gd name="connsiteY47" fmla="*/ 9650 h 10000"/>
                <a:gd name="connsiteX48" fmla="*/ 5496 w 10000"/>
                <a:gd name="connsiteY48" fmla="*/ 9733 h 10000"/>
                <a:gd name="connsiteX49" fmla="*/ 5198 w 10000"/>
                <a:gd name="connsiteY49" fmla="*/ 9800 h 10000"/>
                <a:gd name="connsiteX50" fmla="*/ 4881 w 10000"/>
                <a:gd name="connsiteY50" fmla="*/ 9866 h 10000"/>
                <a:gd name="connsiteX51" fmla="*/ 4583 w 10000"/>
                <a:gd name="connsiteY51" fmla="*/ 9916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6 h 10000"/>
                <a:gd name="connsiteX59" fmla="*/ 2083 w 10000"/>
                <a:gd name="connsiteY59" fmla="*/ 9866 h 10000"/>
                <a:gd name="connsiteX60" fmla="*/ 1786 w 10000"/>
                <a:gd name="connsiteY60" fmla="*/ 9800 h 10000"/>
                <a:gd name="connsiteX61" fmla="*/ 1468 w 10000"/>
                <a:gd name="connsiteY61" fmla="*/ 9733 h 10000"/>
                <a:gd name="connsiteX62" fmla="*/ 1171 w 10000"/>
                <a:gd name="connsiteY62" fmla="*/ 9633 h 10000"/>
                <a:gd name="connsiteX63" fmla="*/ 873 w 10000"/>
                <a:gd name="connsiteY63" fmla="*/ 9533 h 10000"/>
                <a:gd name="connsiteX64" fmla="*/ 575 w 10000"/>
                <a:gd name="connsiteY64" fmla="*/ 9416 h 10000"/>
                <a:gd name="connsiteX65" fmla="*/ 278 w 10000"/>
                <a:gd name="connsiteY65" fmla="*/ 9282 h 10000"/>
                <a:gd name="connsiteX66" fmla="*/ 0 w 10000"/>
                <a:gd name="connsiteY66" fmla="*/ 9132 h 10000"/>
                <a:gd name="connsiteX0" fmla="*/ 0 w 10000"/>
                <a:gd name="connsiteY0" fmla="*/ 9132 h 10000"/>
                <a:gd name="connsiteX1" fmla="*/ 7221 w 10000"/>
                <a:gd name="connsiteY1" fmla="*/ 0 h 10000"/>
                <a:gd name="connsiteX2" fmla="*/ 7401 w 10000"/>
                <a:gd name="connsiteY2" fmla="*/ 85 h 10000"/>
                <a:gd name="connsiteX3" fmla="*/ 7659 w 10000"/>
                <a:gd name="connsiteY3" fmla="*/ 252 h 10000"/>
                <a:gd name="connsiteX4" fmla="*/ 7897 w 10000"/>
                <a:gd name="connsiteY4" fmla="*/ 436 h 10000"/>
                <a:gd name="connsiteX5" fmla="*/ 8135 w 10000"/>
                <a:gd name="connsiteY5" fmla="*/ 619 h 10000"/>
                <a:gd name="connsiteX6" fmla="*/ 8353 w 10000"/>
                <a:gd name="connsiteY6" fmla="*/ 802 h 10000"/>
                <a:gd name="connsiteX7" fmla="*/ 8571 w 10000"/>
                <a:gd name="connsiteY7" fmla="*/ 1003 h 10000"/>
                <a:gd name="connsiteX8" fmla="*/ 8770 w 10000"/>
                <a:gd name="connsiteY8" fmla="*/ 1220 h 10000"/>
                <a:gd name="connsiteX9" fmla="*/ 8948 w 10000"/>
                <a:gd name="connsiteY9" fmla="*/ 1437 h 10000"/>
                <a:gd name="connsiteX10" fmla="*/ 9107 w 10000"/>
                <a:gd name="connsiteY10" fmla="*/ 1654 h 10000"/>
                <a:gd name="connsiteX11" fmla="*/ 9266 w 10000"/>
                <a:gd name="connsiteY11" fmla="*/ 1887 h 10000"/>
                <a:gd name="connsiteX12" fmla="*/ 9405 w 10000"/>
                <a:gd name="connsiteY12" fmla="*/ 2121 h 10000"/>
                <a:gd name="connsiteX13" fmla="*/ 9524 w 10000"/>
                <a:gd name="connsiteY13" fmla="*/ 2355 h 10000"/>
                <a:gd name="connsiteX14" fmla="*/ 9643 w 10000"/>
                <a:gd name="connsiteY14" fmla="*/ 2605 h 10000"/>
                <a:gd name="connsiteX15" fmla="*/ 9742 w 10000"/>
                <a:gd name="connsiteY15" fmla="*/ 2856 h 10000"/>
                <a:gd name="connsiteX16" fmla="*/ 9821 w 10000"/>
                <a:gd name="connsiteY16" fmla="*/ 3106 h 10000"/>
                <a:gd name="connsiteX17" fmla="*/ 9881 w 10000"/>
                <a:gd name="connsiteY17" fmla="*/ 3357 h 10000"/>
                <a:gd name="connsiteX18" fmla="*/ 9940 w 10000"/>
                <a:gd name="connsiteY18" fmla="*/ 3606 h 10000"/>
                <a:gd name="connsiteX19" fmla="*/ 9980 w 10000"/>
                <a:gd name="connsiteY19" fmla="*/ 3874 h 10000"/>
                <a:gd name="connsiteX20" fmla="*/ 10000 w 10000"/>
                <a:gd name="connsiteY20" fmla="*/ 4141 h 10000"/>
                <a:gd name="connsiteX21" fmla="*/ 10000 w 10000"/>
                <a:gd name="connsiteY21" fmla="*/ 4392 h 10000"/>
                <a:gd name="connsiteX22" fmla="*/ 10000 w 10000"/>
                <a:gd name="connsiteY22" fmla="*/ 4658 h 10000"/>
                <a:gd name="connsiteX23" fmla="*/ 9980 w 10000"/>
                <a:gd name="connsiteY23" fmla="*/ 4926 h 10000"/>
                <a:gd name="connsiteX24" fmla="*/ 9940 w 10000"/>
                <a:gd name="connsiteY24" fmla="*/ 5193 h 10000"/>
                <a:gd name="connsiteX25" fmla="*/ 9901 w 10000"/>
                <a:gd name="connsiteY25" fmla="*/ 5459 h 10000"/>
                <a:gd name="connsiteX26" fmla="*/ 9841 w 10000"/>
                <a:gd name="connsiteY26" fmla="*/ 5710 h 10000"/>
                <a:gd name="connsiteX27" fmla="*/ 9762 w 10000"/>
                <a:gd name="connsiteY27" fmla="*/ 5977 h 10000"/>
                <a:gd name="connsiteX28" fmla="*/ 9663 w 10000"/>
                <a:gd name="connsiteY28" fmla="*/ 6227 h 10000"/>
                <a:gd name="connsiteX29" fmla="*/ 9544 w 10000"/>
                <a:gd name="connsiteY29" fmla="*/ 6494 h 10000"/>
                <a:gd name="connsiteX30" fmla="*/ 9425 w 10000"/>
                <a:gd name="connsiteY30" fmla="*/ 6745 h 10000"/>
                <a:gd name="connsiteX31" fmla="*/ 9286 w 10000"/>
                <a:gd name="connsiteY31" fmla="*/ 6995 h 10000"/>
                <a:gd name="connsiteX32" fmla="*/ 9127 w 10000"/>
                <a:gd name="connsiteY32" fmla="*/ 7229 h 10000"/>
                <a:gd name="connsiteX33" fmla="*/ 8948 w 10000"/>
                <a:gd name="connsiteY33" fmla="*/ 7480 h 10000"/>
                <a:gd name="connsiteX34" fmla="*/ 8948 w 10000"/>
                <a:gd name="connsiteY34" fmla="*/ 7480 h 10000"/>
                <a:gd name="connsiteX35" fmla="*/ 8770 w 10000"/>
                <a:gd name="connsiteY35" fmla="*/ 7713 h 10000"/>
                <a:gd name="connsiteX36" fmla="*/ 8571 w 10000"/>
                <a:gd name="connsiteY36" fmla="*/ 7931 h 10000"/>
                <a:gd name="connsiteX37" fmla="*/ 8353 w 10000"/>
                <a:gd name="connsiteY37" fmla="*/ 8147 h 10000"/>
                <a:gd name="connsiteX38" fmla="*/ 8135 w 10000"/>
                <a:gd name="connsiteY38" fmla="*/ 8347 h 10000"/>
                <a:gd name="connsiteX39" fmla="*/ 7917 w 10000"/>
                <a:gd name="connsiteY39" fmla="*/ 8531 h 10000"/>
                <a:gd name="connsiteX40" fmla="*/ 7679 w 10000"/>
                <a:gd name="connsiteY40" fmla="*/ 8715 h 10000"/>
                <a:gd name="connsiteX41" fmla="*/ 7421 w 10000"/>
                <a:gd name="connsiteY41" fmla="*/ 8882 h 10000"/>
                <a:gd name="connsiteX42" fmla="*/ 7163 w 10000"/>
                <a:gd name="connsiteY42" fmla="*/ 9032 h 10000"/>
                <a:gd name="connsiteX43" fmla="*/ 6905 w 10000"/>
                <a:gd name="connsiteY43" fmla="*/ 9182 h 10000"/>
                <a:gd name="connsiteX44" fmla="*/ 6627 w 10000"/>
                <a:gd name="connsiteY44" fmla="*/ 9316 h 10000"/>
                <a:gd name="connsiteX45" fmla="*/ 6349 w 10000"/>
                <a:gd name="connsiteY45" fmla="*/ 9432 h 10000"/>
                <a:gd name="connsiteX46" fmla="*/ 6071 w 10000"/>
                <a:gd name="connsiteY46" fmla="*/ 9549 h 10000"/>
                <a:gd name="connsiteX47" fmla="*/ 5774 w 10000"/>
                <a:gd name="connsiteY47" fmla="*/ 9650 h 10000"/>
                <a:gd name="connsiteX48" fmla="*/ 5496 w 10000"/>
                <a:gd name="connsiteY48" fmla="*/ 9733 h 10000"/>
                <a:gd name="connsiteX49" fmla="*/ 5198 w 10000"/>
                <a:gd name="connsiteY49" fmla="*/ 9800 h 10000"/>
                <a:gd name="connsiteX50" fmla="*/ 4881 w 10000"/>
                <a:gd name="connsiteY50" fmla="*/ 9866 h 10000"/>
                <a:gd name="connsiteX51" fmla="*/ 4583 w 10000"/>
                <a:gd name="connsiteY51" fmla="*/ 9916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6 h 10000"/>
                <a:gd name="connsiteX59" fmla="*/ 2083 w 10000"/>
                <a:gd name="connsiteY59" fmla="*/ 9866 h 10000"/>
                <a:gd name="connsiteX60" fmla="*/ 1786 w 10000"/>
                <a:gd name="connsiteY60" fmla="*/ 9800 h 10000"/>
                <a:gd name="connsiteX61" fmla="*/ 1468 w 10000"/>
                <a:gd name="connsiteY61" fmla="*/ 9733 h 10000"/>
                <a:gd name="connsiteX62" fmla="*/ 1171 w 10000"/>
                <a:gd name="connsiteY62" fmla="*/ 9633 h 10000"/>
                <a:gd name="connsiteX63" fmla="*/ 873 w 10000"/>
                <a:gd name="connsiteY63" fmla="*/ 9533 h 10000"/>
                <a:gd name="connsiteX64" fmla="*/ 575 w 10000"/>
                <a:gd name="connsiteY64" fmla="*/ 9416 h 10000"/>
                <a:gd name="connsiteX65" fmla="*/ 278 w 10000"/>
                <a:gd name="connsiteY65" fmla="*/ 9282 h 10000"/>
                <a:gd name="connsiteX66" fmla="*/ 0 w 10000"/>
                <a:gd name="connsiteY66" fmla="*/ 9132 h 10000"/>
                <a:gd name="connsiteX0" fmla="*/ 0 w 10000"/>
                <a:gd name="connsiteY0" fmla="*/ 9132 h 10000"/>
                <a:gd name="connsiteX1" fmla="*/ 7221 w 10000"/>
                <a:gd name="connsiteY1" fmla="*/ 0 h 10000"/>
                <a:gd name="connsiteX2" fmla="*/ 7401 w 10000"/>
                <a:gd name="connsiteY2" fmla="*/ 85 h 10000"/>
                <a:gd name="connsiteX3" fmla="*/ 7659 w 10000"/>
                <a:gd name="connsiteY3" fmla="*/ 252 h 10000"/>
                <a:gd name="connsiteX4" fmla="*/ 7897 w 10000"/>
                <a:gd name="connsiteY4" fmla="*/ 436 h 10000"/>
                <a:gd name="connsiteX5" fmla="*/ 8135 w 10000"/>
                <a:gd name="connsiteY5" fmla="*/ 619 h 10000"/>
                <a:gd name="connsiteX6" fmla="*/ 8353 w 10000"/>
                <a:gd name="connsiteY6" fmla="*/ 802 h 10000"/>
                <a:gd name="connsiteX7" fmla="*/ 8571 w 10000"/>
                <a:gd name="connsiteY7" fmla="*/ 1003 h 10000"/>
                <a:gd name="connsiteX8" fmla="*/ 8770 w 10000"/>
                <a:gd name="connsiteY8" fmla="*/ 1220 h 10000"/>
                <a:gd name="connsiteX9" fmla="*/ 8948 w 10000"/>
                <a:gd name="connsiteY9" fmla="*/ 1437 h 10000"/>
                <a:gd name="connsiteX10" fmla="*/ 9107 w 10000"/>
                <a:gd name="connsiteY10" fmla="*/ 1654 h 10000"/>
                <a:gd name="connsiteX11" fmla="*/ 9266 w 10000"/>
                <a:gd name="connsiteY11" fmla="*/ 1887 h 10000"/>
                <a:gd name="connsiteX12" fmla="*/ 9405 w 10000"/>
                <a:gd name="connsiteY12" fmla="*/ 2121 h 10000"/>
                <a:gd name="connsiteX13" fmla="*/ 9524 w 10000"/>
                <a:gd name="connsiteY13" fmla="*/ 2355 h 10000"/>
                <a:gd name="connsiteX14" fmla="*/ 9643 w 10000"/>
                <a:gd name="connsiteY14" fmla="*/ 2605 h 10000"/>
                <a:gd name="connsiteX15" fmla="*/ 9742 w 10000"/>
                <a:gd name="connsiteY15" fmla="*/ 2856 h 10000"/>
                <a:gd name="connsiteX16" fmla="*/ 9821 w 10000"/>
                <a:gd name="connsiteY16" fmla="*/ 3106 h 10000"/>
                <a:gd name="connsiteX17" fmla="*/ 9881 w 10000"/>
                <a:gd name="connsiteY17" fmla="*/ 3357 h 10000"/>
                <a:gd name="connsiteX18" fmla="*/ 9940 w 10000"/>
                <a:gd name="connsiteY18" fmla="*/ 3606 h 10000"/>
                <a:gd name="connsiteX19" fmla="*/ 9980 w 10000"/>
                <a:gd name="connsiteY19" fmla="*/ 3874 h 10000"/>
                <a:gd name="connsiteX20" fmla="*/ 10000 w 10000"/>
                <a:gd name="connsiteY20" fmla="*/ 4141 h 10000"/>
                <a:gd name="connsiteX21" fmla="*/ 10000 w 10000"/>
                <a:gd name="connsiteY21" fmla="*/ 4392 h 10000"/>
                <a:gd name="connsiteX22" fmla="*/ 10000 w 10000"/>
                <a:gd name="connsiteY22" fmla="*/ 4658 h 10000"/>
                <a:gd name="connsiteX23" fmla="*/ 9980 w 10000"/>
                <a:gd name="connsiteY23" fmla="*/ 4926 h 10000"/>
                <a:gd name="connsiteX24" fmla="*/ 9940 w 10000"/>
                <a:gd name="connsiteY24" fmla="*/ 5193 h 10000"/>
                <a:gd name="connsiteX25" fmla="*/ 9901 w 10000"/>
                <a:gd name="connsiteY25" fmla="*/ 5459 h 10000"/>
                <a:gd name="connsiteX26" fmla="*/ 9841 w 10000"/>
                <a:gd name="connsiteY26" fmla="*/ 5710 h 10000"/>
                <a:gd name="connsiteX27" fmla="*/ 9762 w 10000"/>
                <a:gd name="connsiteY27" fmla="*/ 5977 h 10000"/>
                <a:gd name="connsiteX28" fmla="*/ 9663 w 10000"/>
                <a:gd name="connsiteY28" fmla="*/ 6227 h 10000"/>
                <a:gd name="connsiteX29" fmla="*/ 9544 w 10000"/>
                <a:gd name="connsiteY29" fmla="*/ 6494 h 10000"/>
                <a:gd name="connsiteX30" fmla="*/ 9425 w 10000"/>
                <a:gd name="connsiteY30" fmla="*/ 6745 h 10000"/>
                <a:gd name="connsiteX31" fmla="*/ 9286 w 10000"/>
                <a:gd name="connsiteY31" fmla="*/ 6995 h 10000"/>
                <a:gd name="connsiteX32" fmla="*/ 9127 w 10000"/>
                <a:gd name="connsiteY32" fmla="*/ 7229 h 10000"/>
                <a:gd name="connsiteX33" fmla="*/ 8948 w 10000"/>
                <a:gd name="connsiteY33" fmla="*/ 7480 h 10000"/>
                <a:gd name="connsiteX34" fmla="*/ 8948 w 10000"/>
                <a:gd name="connsiteY34" fmla="*/ 7480 h 10000"/>
                <a:gd name="connsiteX35" fmla="*/ 8770 w 10000"/>
                <a:gd name="connsiteY35" fmla="*/ 7713 h 10000"/>
                <a:gd name="connsiteX36" fmla="*/ 8571 w 10000"/>
                <a:gd name="connsiteY36" fmla="*/ 7931 h 10000"/>
                <a:gd name="connsiteX37" fmla="*/ 8353 w 10000"/>
                <a:gd name="connsiteY37" fmla="*/ 8147 h 10000"/>
                <a:gd name="connsiteX38" fmla="*/ 8135 w 10000"/>
                <a:gd name="connsiteY38" fmla="*/ 8347 h 10000"/>
                <a:gd name="connsiteX39" fmla="*/ 7917 w 10000"/>
                <a:gd name="connsiteY39" fmla="*/ 8531 h 10000"/>
                <a:gd name="connsiteX40" fmla="*/ 7679 w 10000"/>
                <a:gd name="connsiteY40" fmla="*/ 8715 h 10000"/>
                <a:gd name="connsiteX41" fmla="*/ 7421 w 10000"/>
                <a:gd name="connsiteY41" fmla="*/ 8882 h 10000"/>
                <a:gd name="connsiteX42" fmla="*/ 7163 w 10000"/>
                <a:gd name="connsiteY42" fmla="*/ 9032 h 10000"/>
                <a:gd name="connsiteX43" fmla="*/ 6905 w 10000"/>
                <a:gd name="connsiteY43" fmla="*/ 9182 h 10000"/>
                <a:gd name="connsiteX44" fmla="*/ 6627 w 10000"/>
                <a:gd name="connsiteY44" fmla="*/ 9316 h 10000"/>
                <a:gd name="connsiteX45" fmla="*/ 6349 w 10000"/>
                <a:gd name="connsiteY45" fmla="*/ 9432 h 10000"/>
                <a:gd name="connsiteX46" fmla="*/ 6071 w 10000"/>
                <a:gd name="connsiteY46" fmla="*/ 9549 h 10000"/>
                <a:gd name="connsiteX47" fmla="*/ 5774 w 10000"/>
                <a:gd name="connsiteY47" fmla="*/ 9650 h 10000"/>
                <a:gd name="connsiteX48" fmla="*/ 5496 w 10000"/>
                <a:gd name="connsiteY48" fmla="*/ 9733 h 10000"/>
                <a:gd name="connsiteX49" fmla="*/ 5198 w 10000"/>
                <a:gd name="connsiteY49" fmla="*/ 9800 h 10000"/>
                <a:gd name="connsiteX50" fmla="*/ 4881 w 10000"/>
                <a:gd name="connsiteY50" fmla="*/ 9866 h 10000"/>
                <a:gd name="connsiteX51" fmla="*/ 4583 w 10000"/>
                <a:gd name="connsiteY51" fmla="*/ 9916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6 h 10000"/>
                <a:gd name="connsiteX59" fmla="*/ 2083 w 10000"/>
                <a:gd name="connsiteY59" fmla="*/ 9866 h 10000"/>
                <a:gd name="connsiteX60" fmla="*/ 1786 w 10000"/>
                <a:gd name="connsiteY60" fmla="*/ 9800 h 10000"/>
                <a:gd name="connsiteX61" fmla="*/ 1468 w 10000"/>
                <a:gd name="connsiteY61" fmla="*/ 9733 h 10000"/>
                <a:gd name="connsiteX62" fmla="*/ 1171 w 10000"/>
                <a:gd name="connsiteY62" fmla="*/ 9633 h 10000"/>
                <a:gd name="connsiteX63" fmla="*/ 873 w 10000"/>
                <a:gd name="connsiteY63" fmla="*/ 9533 h 10000"/>
                <a:gd name="connsiteX64" fmla="*/ 575 w 10000"/>
                <a:gd name="connsiteY64" fmla="*/ 9416 h 10000"/>
                <a:gd name="connsiteX65" fmla="*/ 278 w 10000"/>
                <a:gd name="connsiteY65" fmla="*/ 9282 h 10000"/>
                <a:gd name="connsiteX66" fmla="*/ 0 w 10000"/>
                <a:gd name="connsiteY66" fmla="*/ 9132 h 10000"/>
                <a:gd name="connsiteX0" fmla="*/ 0 w 10000"/>
                <a:gd name="connsiteY0" fmla="*/ 9132 h 10000"/>
                <a:gd name="connsiteX1" fmla="*/ 7221 w 10000"/>
                <a:gd name="connsiteY1" fmla="*/ 0 h 10000"/>
                <a:gd name="connsiteX2" fmla="*/ 7401 w 10000"/>
                <a:gd name="connsiteY2" fmla="*/ 85 h 10000"/>
                <a:gd name="connsiteX3" fmla="*/ 7659 w 10000"/>
                <a:gd name="connsiteY3" fmla="*/ 252 h 10000"/>
                <a:gd name="connsiteX4" fmla="*/ 7897 w 10000"/>
                <a:gd name="connsiteY4" fmla="*/ 436 h 10000"/>
                <a:gd name="connsiteX5" fmla="*/ 8135 w 10000"/>
                <a:gd name="connsiteY5" fmla="*/ 619 h 10000"/>
                <a:gd name="connsiteX6" fmla="*/ 8353 w 10000"/>
                <a:gd name="connsiteY6" fmla="*/ 802 h 10000"/>
                <a:gd name="connsiteX7" fmla="*/ 8571 w 10000"/>
                <a:gd name="connsiteY7" fmla="*/ 1003 h 10000"/>
                <a:gd name="connsiteX8" fmla="*/ 8770 w 10000"/>
                <a:gd name="connsiteY8" fmla="*/ 1220 h 10000"/>
                <a:gd name="connsiteX9" fmla="*/ 8948 w 10000"/>
                <a:gd name="connsiteY9" fmla="*/ 1437 h 10000"/>
                <a:gd name="connsiteX10" fmla="*/ 9107 w 10000"/>
                <a:gd name="connsiteY10" fmla="*/ 1654 h 10000"/>
                <a:gd name="connsiteX11" fmla="*/ 9266 w 10000"/>
                <a:gd name="connsiteY11" fmla="*/ 1887 h 10000"/>
                <a:gd name="connsiteX12" fmla="*/ 9405 w 10000"/>
                <a:gd name="connsiteY12" fmla="*/ 2121 h 10000"/>
                <a:gd name="connsiteX13" fmla="*/ 9524 w 10000"/>
                <a:gd name="connsiteY13" fmla="*/ 2355 h 10000"/>
                <a:gd name="connsiteX14" fmla="*/ 9643 w 10000"/>
                <a:gd name="connsiteY14" fmla="*/ 2605 h 10000"/>
                <a:gd name="connsiteX15" fmla="*/ 9742 w 10000"/>
                <a:gd name="connsiteY15" fmla="*/ 2856 h 10000"/>
                <a:gd name="connsiteX16" fmla="*/ 9821 w 10000"/>
                <a:gd name="connsiteY16" fmla="*/ 3106 h 10000"/>
                <a:gd name="connsiteX17" fmla="*/ 9881 w 10000"/>
                <a:gd name="connsiteY17" fmla="*/ 3357 h 10000"/>
                <a:gd name="connsiteX18" fmla="*/ 9940 w 10000"/>
                <a:gd name="connsiteY18" fmla="*/ 3606 h 10000"/>
                <a:gd name="connsiteX19" fmla="*/ 9980 w 10000"/>
                <a:gd name="connsiteY19" fmla="*/ 3874 h 10000"/>
                <a:gd name="connsiteX20" fmla="*/ 10000 w 10000"/>
                <a:gd name="connsiteY20" fmla="*/ 4141 h 10000"/>
                <a:gd name="connsiteX21" fmla="*/ 10000 w 10000"/>
                <a:gd name="connsiteY21" fmla="*/ 4392 h 10000"/>
                <a:gd name="connsiteX22" fmla="*/ 10000 w 10000"/>
                <a:gd name="connsiteY22" fmla="*/ 4658 h 10000"/>
                <a:gd name="connsiteX23" fmla="*/ 9980 w 10000"/>
                <a:gd name="connsiteY23" fmla="*/ 4926 h 10000"/>
                <a:gd name="connsiteX24" fmla="*/ 9940 w 10000"/>
                <a:gd name="connsiteY24" fmla="*/ 5193 h 10000"/>
                <a:gd name="connsiteX25" fmla="*/ 9901 w 10000"/>
                <a:gd name="connsiteY25" fmla="*/ 5459 h 10000"/>
                <a:gd name="connsiteX26" fmla="*/ 9841 w 10000"/>
                <a:gd name="connsiteY26" fmla="*/ 5710 h 10000"/>
                <a:gd name="connsiteX27" fmla="*/ 9762 w 10000"/>
                <a:gd name="connsiteY27" fmla="*/ 5977 h 10000"/>
                <a:gd name="connsiteX28" fmla="*/ 9663 w 10000"/>
                <a:gd name="connsiteY28" fmla="*/ 6227 h 10000"/>
                <a:gd name="connsiteX29" fmla="*/ 9544 w 10000"/>
                <a:gd name="connsiteY29" fmla="*/ 6494 h 10000"/>
                <a:gd name="connsiteX30" fmla="*/ 9425 w 10000"/>
                <a:gd name="connsiteY30" fmla="*/ 6745 h 10000"/>
                <a:gd name="connsiteX31" fmla="*/ 9286 w 10000"/>
                <a:gd name="connsiteY31" fmla="*/ 6995 h 10000"/>
                <a:gd name="connsiteX32" fmla="*/ 9127 w 10000"/>
                <a:gd name="connsiteY32" fmla="*/ 7229 h 10000"/>
                <a:gd name="connsiteX33" fmla="*/ 8948 w 10000"/>
                <a:gd name="connsiteY33" fmla="*/ 7480 h 10000"/>
                <a:gd name="connsiteX34" fmla="*/ 8948 w 10000"/>
                <a:gd name="connsiteY34" fmla="*/ 7480 h 10000"/>
                <a:gd name="connsiteX35" fmla="*/ 8770 w 10000"/>
                <a:gd name="connsiteY35" fmla="*/ 7713 h 10000"/>
                <a:gd name="connsiteX36" fmla="*/ 8571 w 10000"/>
                <a:gd name="connsiteY36" fmla="*/ 7931 h 10000"/>
                <a:gd name="connsiteX37" fmla="*/ 8353 w 10000"/>
                <a:gd name="connsiteY37" fmla="*/ 8147 h 10000"/>
                <a:gd name="connsiteX38" fmla="*/ 8135 w 10000"/>
                <a:gd name="connsiteY38" fmla="*/ 8347 h 10000"/>
                <a:gd name="connsiteX39" fmla="*/ 7917 w 10000"/>
                <a:gd name="connsiteY39" fmla="*/ 8531 h 10000"/>
                <a:gd name="connsiteX40" fmla="*/ 7679 w 10000"/>
                <a:gd name="connsiteY40" fmla="*/ 8715 h 10000"/>
                <a:gd name="connsiteX41" fmla="*/ 7421 w 10000"/>
                <a:gd name="connsiteY41" fmla="*/ 8882 h 10000"/>
                <a:gd name="connsiteX42" fmla="*/ 7163 w 10000"/>
                <a:gd name="connsiteY42" fmla="*/ 9032 h 10000"/>
                <a:gd name="connsiteX43" fmla="*/ 6905 w 10000"/>
                <a:gd name="connsiteY43" fmla="*/ 9182 h 10000"/>
                <a:gd name="connsiteX44" fmla="*/ 6627 w 10000"/>
                <a:gd name="connsiteY44" fmla="*/ 9316 h 10000"/>
                <a:gd name="connsiteX45" fmla="*/ 6349 w 10000"/>
                <a:gd name="connsiteY45" fmla="*/ 9432 h 10000"/>
                <a:gd name="connsiteX46" fmla="*/ 6071 w 10000"/>
                <a:gd name="connsiteY46" fmla="*/ 9549 h 10000"/>
                <a:gd name="connsiteX47" fmla="*/ 5774 w 10000"/>
                <a:gd name="connsiteY47" fmla="*/ 9650 h 10000"/>
                <a:gd name="connsiteX48" fmla="*/ 5496 w 10000"/>
                <a:gd name="connsiteY48" fmla="*/ 9733 h 10000"/>
                <a:gd name="connsiteX49" fmla="*/ 5198 w 10000"/>
                <a:gd name="connsiteY49" fmla="*/ 9800 h 10000"/>
                <a:gd name="connsiteX50" fmla="*/ 4881 w 10000"/>
                <a:gd name="connsiteY50" fmla="*/ 9866 h 10000"/>
                <a:gd name="connsiteX51" fmla="*/ 4583 w 10000"/>
                <a:gd name="connsiteY51" fmla="*/ 9916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6 h 10000"/>
                <a:gd name="connsiteX59" fmla="*/ 2083 w 10000"/>
                <a:gd name="connsiteY59" fmla="*/ 9866 h 10000"/>
                <a:gd name="connsiteX60" fmla="*/ 1786 w 10000"/>
                <a:gd name="connsiteY60" fmla="*/ 9800 h 10000"/>
                <a:gd name="connsiteX61" fmla="*/ 1468 w 10000"/>
                <a:gd name="connsiteY61" fmla="*/ 9733 h 10000"/>
                <a:gd name="connsiteX62" fmla="*/ 1171 w 10000"/>
                <a:gd name="connsiteY62" fmla="*/ 9633 h 10000"/>
                <a:gd name="connsiteX63" fmla="*/ 873 w 10000"/>
                <a:gd name="connsiteY63" fmla="*/ 9533 h 10000"/>
                <a:gd name="connsiteX64" fmla="*/ 575 w 10000"/>
                <a:gd name="connsiteY64" fmla="*/ 9416 h 10000"/>
                <a:gd name="connsiteX65" fmla="*/ 278 w 10000"/>
                <a:gd name="connsiteY65" fmla="*/ 9282 h 10000"/>
                <a:gd name="connsiteX66" fmla="*/ 0 w 10000"/>
                <a:gd name="connsiteY66" fmla="*/ 9132 h 10000"/>
                <a:gd name="connsiteX0" fmla="*/ 0 w 10000"/>
                <a:gd name="connsiteY0" fmla="*/ 9132 h 10000"/>
                <a:gd name="connsiteX1" fmla="*/ 7221 w 10000"/>
                <a:gd name="connsiteY1" fmla="*/ 0 h 10000"/>
                <a:gd name="connsiteX2" fmla="*/ 7401 w 10000"/>
                <a:gd name="connsiteY2" fmla="*/ 85 h 10000"/>
                <a:gd name="connsiteX3" fmla="*/ 7659 w 10000"/>
                <a:gd name="connsiteY3" fmla="*/ 252 h 10000"/>
                <a:gd name="connsiteX4" fmla="*/ 7897 w 10000"/>
                <a:gd name="connsiteY4" fmla="*/ 436 h 10000"/>
                <a:gd name="connsiteX5" fmla="*/ 8135 w 10000"/>
                <a:gd name="connsiteY5" fmla="*/ 619 h 10000"/>
                <a:gd name="connsiteX6" fmla="*/ 8353 w 10000"/>
                <a:gd name="connsiteY6" fmla="*/ 802 h 10000"/>
                <a:gd name="connsiteX7" fmla="*/ 8571 w 10000"/>
                <a:gd name="connsiteY7" fmla="*/ 1003 h 10000"/>
                <a:gd name="connsiteX8" fmla="*/ 8770 w 10000"/>
                <a:gd name="connsiteY8" fmla="*/ 1220 h 10000"/>
                <a:gd name="connsiteX9" fmla="*/ 8948 w 10000"/>
                <a:gd name="connsiteY9" fmla="*/ 1437 h 10000"/>
                <a:gd name="connsiteX10" fmla="*/ 9107 w 10000"/>
                <a:gd name="connsiteY10" fmla="*/ 1654 h 10000"/>
                <a:gd name="connsiteX11" fmla="*/ 9266 w 10000"/>
                <a:gd name="connsiteY11" fmla="*/ 1887 h 10000"/>
                <a:gd name="connsiteX12" fmla="*/ 9405 w 10000"/>
                <a:gd name="connsiteY12" fmla="*/ 2121 h 10000"/>
                <a:gd name="connsiteX13" fmla="*/ 9524 w 10000"/>
                <a:gd name="connsiteY13" fmla="*/ 2355 h 10000"/>
                <a:gd name="connsiteX14" fmla="*/ 9643 w 10000"/>
                <a:gd name="connsiteY14" fmla="*/ 2605 h 10000"/>
                <a:gd name="connsiteX15" fmla="*/ 9742 w 10000"/>
                <a:gd name="connsiteY15" fmla="*/ 2856 h 10000"/>
                <a:gd name="connsiteX16" fmla="*/ 9821 w 10000"/>
                <a:gd name="connsiteY16" fmla="*/ 3106 h 10000"/>
                <a:gd name="connsiteX17" fmla="*/ 9881 w 10000"/>
                <a:gd name="connsiteY17" fmla="*/ 3357 h 10000"/>
                <a:gd name="connsiteX18" fmla="*/ 9940 w 10000"/>
                <a:gd name="connsiteY18" fmla="*/ 3606 h 10000"/>
                <a:gd name="connsiteX19" fmla="*/ 9980 w 10000"/>
                <a:gd name="connsiteY19" fmla="*/ 3874 h 10000"/>
                <a:gd name="connsiteX20" fmla="*/ 10000 w 10000"/>
                <a:gd name="connsiteY20" fmla="*/ 4141 h 10000"/>
                <a:gd name="connsiteX21" fmla="*/ 10000 w 10000"/>
                <a:gd name="connsiteY21" fmla="*/ 4392 h 10000"/>
                <a:gd name="connsiteX22" fmla="*/ 10000 w 10000"/>
                <a:gd name="connsiteY22" fmla="*/ 4658 h 10000"/>
                <a:gd name="connsiteX23" fmla="*/ 9980 w 10000"/>
                <a:gd name="connsiteY23" fmla="*/ 4926 h 10000"/>
                <a:gd name="connsiteX24" fmla="*/ 9940 w 10000"/>
                <a:gd name="connsiteY24" fmla="*/ 5193 h 10000"/>
                <a:gd name="connsiteX25" fmla="*/ 9901 w 10000"/>
                <a:gd name="connsiteY25" fmla="*/ 5459 h 10000"/>
                <a:gd name="connsiteX26" fmla="*/ 9841 w 10000"/>
                <a:gd name="connsiteY26" fmla="*/ 5710 h 10000"/>
                <a:gd name="connsiteX27" fmla="*/ 9762 w 10000"/>
                <a:gd name="connsiteY27" fmla="*/ 5977 h 10000"/>
                <a:gd name="connsiteX28" fmla="*/ 9663 w 10000"/>
                <a:gd name="connsiteY28" fmla="*/ 6227 h 10000"/>
                <a:gd name="connsiteX29" fmla="*/ 9544 w 10000"/>
                <a:gd name="connsiteY29" fmla="*/ 6494 h 10000"/>
                <a:gd name="connsiteX30" fmla="*/ 9425 w 10000"/>
                <a:gd name="connsiteY30" fmla="*/ 6745 h 10000"/>
                <a:gd name="connsiteX31" fmla="*/ 9286 w 10000"/>
                <a:gd name="connsiteY31" fmla="*/ 6995 h 10000"/>
                <a:gd name="connsiteX32" fmla="*/ 9127 w 10000"/>
                <a:gd name="connsiteY32" fmla="*/ 7229 h 10000"/>
                <a:gd name="connsiteX33" fmla="*/ 8948 w 10000"/>
                <a:gd name="connsiteY33" fmla="*/ 7480 h 10000"/>
                <a:gd name="connsiteX34" fmla="*/ 8948 w 10000"/>
                <a:gd name="connsiteY34" fmla="*/ 7480 h 10000"/>
                <a:gd name="connsiteX35" fmla="*/ 8770 w 10000"/>
                <a:gd name="connsiteY35" fmla="*/ 7713 h 10000"/>
                <a:gd name="connsiteX36" fmla="*/ 8571 w 10000"/>
                <a:gd name="connsiteY36" fmla="*/ 7931 h 10000"/>
                <a:gd name="connsiteX37" fmla="*/ 8353 w 10000"/>
                <a:gd name="connsiteY37" fmla="*/ 8147 h 10000"/>
                <a:gd name="connsiteX38" fmla="*/ 8135 w 10000"/>
                <a:gd name="connsiteY38" fmla="*/ 8347 h 10000"/>
                <a:gd name="connsiteX39" fmla="*/ 7917 w 10000"/>
                <a:gd name="connsiteY39" fmla="*/ 8531 h 10000"/>
                <a:gd name="connsiteX40" fmla="*/ 7679 w 10000"/>
                <a:gd name="connsiteY40" fmla="*/ 8715 h 10000"/>
                <a:gd name="connsiteX41" fmla="*/ 7421 w 10000"/>
                <a:gd name="connsiteY41" fmla="*/ 8882 h 10000"/>
                <a:gd name="connsiteX42" fmla="*/ 7163 w 10000"/>
                <a:gd name="connsiteY42" fmla="*/ 9032 h 10000"/>
                <a:gd name="connsiteX43" fmla="*/ 6905 w 10000"/>
                <a:gd name="connsiteY43" fmla="*/ 9182 h 10000"/>
                <a:gd name="connsiteX44" fmla="*/ 6627 w 10000"/>
                <a:gd name="connsiteY44" fmla="*/ 9316 h 10000"/>
                <a:gd name="connsiteX45" fmla="*/ 6349 w 10000"/>
                <a:gd name="connsiteY45" fmla="*/ 9432 h 10000"/>
                <a:gd name="connsiteX46" fmla="*/ 6071 w 10000"/>
                <a:gd name="connsiteY46" fmla="*/ 9549 h 10000"/>
                <a:gd name="connsiteX47" fmla="*/ 5774 w 10000"/>
                <a:gd name="connsiteY47" fmla="*/ 9650 h 10000"/>
                <a:gd name="connsiteX48" fmla="*/ 5496 w 10000"/>
                <a:gd name="connsiteY48" fmla="*/ 9733 h 10000"/>
                <a:gd name="connsiteX49" fmla="*/ 5198 w 10000"/>
                <a:gd name="connsiteY49" fmla="*/ 9800 h 10000"/>
                <a:gd name="connsiteX50" fmla="*/ 4881 w 10000"/>
                <a:gd name="connsiteY50" fmla="*/ 9866 h 10000"/>
                <a:gd name="connsiteX51" fmla="*/ 4583 w 10000"/>
                <a:gd name="connsiteY51" fmla="*/ 9916 h 10000"/>
                <a:gd name="connsiteX52" fmla="*/ 4266 w 10000"/>
                <a:gd name="connsiteY52" fmla="*/ 9950 h 10000"/>
                <a:gd name="connsiteX53" fmla="*/ 3968 w 10000"/>
                <a:gd name="connsiteY53" fmla="*/ 9983 h 10000"/>
                <a:gd name="connsiteX54" fmla="*/ 3651 w 10000"/>
                <a:gd name="connsiteY54" fmla="*/ 10000 h 10000"/>
                <a:gd name="connsiteX55" fmla="*/ 3333 w 10000"/>
                <a:gd name="connsiteY55" fmla="*/ 10000 h 10000"/>
                <a:gd name="connsiteX56" fmla="*/ 3036 w 10000"/>
                <a:gd name="connsiteY56" fmla="*/ 9983 h 10000"/>
                <a:gd name="connsiteX57" fmla="*/ 2718 w 10000"/>
                <a:gd name="connsiteY57" fmla="*/ 9950 h 10000"/>
                <a:gd name="connsiteX58" fmla="*/ 2401 w 10000"/>
                <a:gd name="connsiteY58" fmla="*/ 9916 h 10000"/>
                <a:gd name="connsiteX59" fmla="*/ 2083 w 10000"/>
                <a:gd name="connsiteY59" fmla="*/ 9866 h 10000"/>
                <a:gd name="connsiteX60" fmla="*/ 1786 w 10000"/>
                <a:gd name="connsiteY60" fmla="*/ 9800 h 10000"/>
                <a:gd name="connsiteX61" fmla="*/ 1468 w 10000"/>
                <a:gd name="connsiteY61" fmla="*/ 9733 h 10000"/>
                <a:gd name="connsiteX62" fmla="*/ 1171 w 10000"/>
                <a:gd name="connsiteY62" fmla="*/ 9633 h 10000"/>
                <a:gd name="connsiteX63" fmla="*/ 873 w 10000"/>
                <a:gd name="connsiteY63" fmla="*/ 9533 h 10000"/>
                <a:gd name="connsiteX64" fmla="*/ 575 w 10000"/>
                <a:gd name="connsiteY64" fmla="*/ 9416 h 10000"/>
                <a:gd name="connsiteX65" fmla="*/ 278 w 10000"/>
                <a:gd name="connsiteY65" fmla="*/ 9282 h 10000"/>
                <a:gd name="connsiteX66" fmla="*/ 0 w 10000"/>
                <a:gd name="connsiteY66" fmla="*/ 913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0000" h="10000">
                  <a:moveTo>
                    <a:pt x="0" y="9132"/>
                  </a:moveTo>
                  <a:cubicBezTo>
                    <a:pt x="-59" y="9118"/>
                    <a:pt x="7182" y="-52"/>
                    <a:pt x="7221" y="0"/>
                  </a:cubicBezTo>
                  <a:lnTo>
                    <a:pt x="7401" y="85"/>
                  </a:lnTo>
                  <a:lnTo>
                    <a:pt x="7659" y="252"/>
                  </a:lnTo>
                  <a:lnTo>
                    <a:pt x="7897" y="436"/>
                  </a:lnTo>
                  <a:lnTo>
                    <a:pt x="8135" y="619"/>
                  </a:lnTo>
                  <a:lnTo>
                    <a:pt x="8353" y="802"/>
                  </a:lnTo>
                  <a:lnTo>
                    <a:pt x="8571" y="1003"/>
                  </a:lnTo>
                  <a:lnTo>
                    <a:pt x="8770" y="1220"/>
                  </a:lnTo>
                  <a:lnTo>
                    <a:pt x="8948" y="1437"/>
                  </a:lnTo>
                  <a:lnTo>
                    <a:pt x="9107" y="1654"/>
                  </a:lnTo>
                  <a:lnTo>
                    <a:pt x="9266" y="1887"/>
                  </a:lnTo>
                  <a:cubicBezTo>
                    <a:pt x="9312" y="1965"/>
                    <a:pt x="9359" y="2043"/>
                    <a:pt x="9405" y="2121"/>
                  </a:cubicBezTo>
                  <a:cubicBezTo>
                    <a:pt x="9445" y="2199"/>
                    <a:pt x="9484" y="2277"/>
                    <a:pt x="9524" y="2355"/>
                  </a:cubicBezTo>
                  <a:cubicBezTo>
                    <a:pt x="9564" y="2438"/>
                    <a:pt x="9603" y="2522"/>
                    <a:pt x="9643" y="2605"/>
                  </a:cubicBezTo>
                  <a:cubicBezTo>
                    <a:pt x="9676" y="2689"/>
                    <a:pt x="9709" y="2772"/>
                    <a:pt x="9742" y="2856"/>
                  </a:cubicBezTo>
                  <a:cubicBezTo>
                    <a:pt x="9768" y="2939"/>
                    <a:pt x="9795" y="3023"/>
                    <a:pt x="9821" y="3106"/>
                  </a:cubicBezTo>
                  <a:cubicBezTo>
                    <a:pt x="9841" y="3190"/>
                    <a:pt x="9861" y="3273"/>
                    <a:pt x="9881" y="3357"/>
                  </a:cubicBezTo>
                  <a:cubicBezTo>
                    <a:pt x="9901" y="3440"/>
                    <a:pt x="9920" y="3523"/>
                    <a:pt x="9940" y="3606"/>
                  </a:cubicBezTo>
                  <a:cubicBezTo>
                    <a:pt x="9953" y="3696"/>
                    <a:pt x="9967" y="3785"/>
                    <a:pt x="9980" y="3874"/>
                  </a:cubicBezTo>
                  <a:cubicBezTo>
                    <a:pt x="9987" y="3963"/>
                    <a:pt x="9993" y="4052"/>
                    <a:pt x="10000" y="4141"/>
                  </a:cubicBezTo>
                  <a:lnTo>
                    <a:pt x="10000" y="4392"/>
                  </a:lnTo>
                  <a:lnTo>
                    <a:pt x="10000" y="4658"/>
                  </a:lnTo>
                  <a:cubicBezTo>
                    <a:pt x="9993" y="4748"/>
                    <a:pt x="9987" y="4836"/>
                    <a:pt x="9980" y="4926"/>
                  </a:cubicBezTo>
                  <a:cubicBezTo>
                    <a:pt x="9967" y="5015"/>
                    <a:pt x="9953" y="5104"/>
                    <a:pt x="9940" y="5193"/>
                  </a:cubicBezTo>
                  <a:cubicBezTo>
                    <a:pt x="9927" y="5281"/>
                    <a:pt x="9914" y="5371"/>
                    <a:pt x="9901" y="5459"/>
                  </a:cubicBezTo>
                  <a:cubicBezTo>
                    <a:pt x="9881" y="5543"/>
                    <a:pt x="9861" y="5626"/>
                    <a:pt x="9841" y="5710"/>
                  </a:cubicBezTo>
                  <a:cubicBezTo>
                    <a:pt x="9815" y="5799"/>
                    <a:pt x="9788" y="5888"/>
                    <a:pt x="9762" y="5977"/>
                  </a:cubicBezTo>
                  <a:cubicBezTo>
                    <a:pt x="9729" y="6060"/>
                    <a:pt x="9696" y="6144"/>
                    <a:pt x="9663" y="6227"/>
                  </a:cubicBezTo>
                  <a:cubicBezTo>
                    <a:pt x="9623" y="6316"/>
                    <a:pt x="9584" y="6406"/>
                    <a:pt x="9544" y="6494"/>
                  </a:cubicBezTo>
                  <a:lnTo>
                    <a:pt x="9425" y="6745"/>
                  </a:lnTo>
                  <a:lnTo>
                    <a:pt x="9286" y="6995"/>
                  </a:lnTo>
                  <a:lnTo>
                    <a:pt x="9127" y="7229"/>
                  </a:lnTo>
                  <a:lnTo>
                    <a:pt x="8948" y="7480"/>
                  </a:lnTo>
                  <a:lnTo>
                    <a:pt x="8948" y="7480"/>
                  </a:lnTo>
                  <a:cubicBezTo>
                    <a:pt x="8889" y="7558"/>
                    <a:pt x="8829" y="7635"/>
                    <a:pt x="8770" y="7713"/>
                  </a:cubicBezTo>
                  <a:cubicBezTo>
                    <a:pt x="8704" y="7786"/>
                    <a:pt x="8637" y="7858"/>
                    <a:pt x="8571" y="7931"/>
                  </a:cubicBezTo>
                  <a:lnTo>
                    <a:pt x="8353" y="8147"/>
                  </a:lnTo>
                  <a:lnTo>
                    <a:pt x="8135" y="8347"/>
                  </a:lnTo>
                  <a:lnTo>
                    <a:pt x="7917" y="8531"/>
                  </a:lnTo>
                  <a:lnTo>
                    <a:pt x="7679" y="8715"/>
                  </a:lnTo>
                  <a:lnTo>
                    <a:pt x="7421" y="8882"/>
                  </a:lnTo>
                  <a:lnTo>
                    <a:pt x="7163" y="9032"/>
                  </a:lnTo>
                  <a:lnTo>
                    <a:pt x="6905" y="9182"/>
                  </a:lnTo>
                  <a:lnTo>
                    <a:pt x="6627" y="9316"/>
                  </a:lnTo>
                  <a:lnTo>
                    <a:pt x="6349" y="9432"/>
                  </a:lnTo>
                  <a:lnTo>
                    <a:pt x="6071" y="9549"/>
                  </a:lnTo>
                  <a:lnTo>
                    <a:pt x="5774" y="9650"/>
                  </a:lnTo>
                  <a:lnTo>
                    <a:pt x="5496" y="9733"/>
                  </a:lnTo>
                  <a:lnTo>
                    <a:pt x="5198" y="9800"/>
                  </a:lnTo>
                  <a:lnTo>
                    <a:pt x="4881" y="9866"/>
                  </a:lnTo>
                  <a:lnTo>
                    <a:pt x="4583" y="9916"/>
                  </a:lnTo>
                  <a:lnTo>
                    <a:pt x="4266" y="9950"/>
                  </a:lnTo>
                  <a:lnTo>
                    <a:pt x="3968" y="9983"/>
                  </a:lnTo>
                  <a:lnTo>
                    <a:pt x="3651" y="10000"/>
                  </a:lnTo>
                  <a:lnTo>
                    <a:pt x="3333" y="10000"/>
                  </a:lnTo>
                  <a:lnTo>
                    <a:pt x="3036" y="9983"/>
                  </a:lnTo>
                  <a:lnTo>
                    <a:pt x="2718" y="9950"/>
                  </a:lnTo>
                  <a:lnTo>
                    <a:pt x="2401" y="9916"/>
                  </a:lnTo>
                  <a:lnTo>
                    <a:pt x="2083" y="9866"/>
                  </a:lnTo>
                  <a:lnTo>
                    <a:pt x="1786" y="9800"/>
                  </a:lnTo>
                  <a:lnTo>
                    <a:pt x="1468" y="9733"/>
                  </a:lnTo>
                  <a:lnTo>
                    <a:pt x="1171" y="9633"/>
                  </a:lnTo>
                  <a:lnTo>
                    <a:pt x="873" y="9533"/>
                  </a:lnTo>
                  <a:lnTo>
                    <a:pt x="575" y="9416"/>
                  </a:lnTo>
                  <a:lnTo>
                    <a:pt x="278" y="9282"/>
                  </a:lnTo>
                  <a:lnTo>
                    <a:pt x="0" y="913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 dirty="0"/>
            </a:p>
          </p:txBody>
        </p:sp>
      </p:grpSp>
      <p:sp>
        <p:nvSpPr>
          <p:cNvPr id="113" name="Obdélník 17"/>
          <p:cNvSpPr/>
          <p:nvPr userDrawn="1"/>
        </p:nvSpPr>
        <p:spPr>
          <a:xfrm>
            <a:off x="-1" y="-11954"/>
            <a:ext cx="4998513" cy="6883653"/>
          </a:xfrm>
          <a:custGeom>
            <a:avLst/>
            <a:gdLst>
              <a:gd name="connsiteX0" fmla="*/ 0 w 4262593"/>
              <a:gd name="connsiteY0" fmla="*/ 0 h 5152466"/>
              <a:gd name="connsiteX1" fmla="*/ 4262593 w 4262593"/>
              <a:gd name="connsiteY1" fmla="*/ 0 h 5152466"/>
              <a:gd name="connsiteX2" fmla="*/ 4262593 w 4262593"/>
              <a:gd name="connsiteY2" fmla="*/ 5152466 h 5152466"/>
              <a:gd name="connsiteX3" fmla="*/ 0 w 4262593"/>
              <a:gd name="connsiteY3" fmla="*/ 5152466 h 5152466"/>
              <a:gd name="connsiteX4" fmla="*/ 0 w 4262593"/>
              <a:gd name="connsiteY4" fmla="*/ 0 h 5152466"/>
              <a:gd name="connsiteX0" fmla="*/ 0 w 4262593"/>
              <a:gd name="connsiteY0" fmla="*/ 0 h 5152466"/>
              <a:gd name="connsiteX1" fmla="*/ 337865 w 4262593"/>
              <a:gd name="connsiteY1" fmla="*/ 30822 h 5152466"/>
              <a:gd name="connsiteX2" fmla="*/ 4262593 w 4262593"/>
              <a:gd name="connsiteY2" fmla="*/ 5152466 h 5152466"/>
              <a:gd name="connsiteX3" fmla="*/ 0 w 4262593"/>
              <a:gd name="connsiteY3" fmla="*/ 5152466 h 5152466"/>
              <a:gd name="connsiteX4" fmla="*/ 0 w 4262593"/>
              <a:gd name="connsiteY4" fmla="*/ 0 h 5152466"/>
              <a:gd name="connsiteX0" fmla="*/ 0 w 3163258"/>
              <a:gd name="connsiteY0" fmla="*/ 0 h 5152466"/>
              <a:gd name="connsiteX1" fmla="*/ 337865 w 3163258"/>
              <a:gd name="connsiteY1" fmla="*/ 30822 h 5152466"/>
              <a:gd name="connsiteX2" fmla="*/ 3163258 w 3163258"/>
              <a:gd name="connsiteY2" fmla="*/ 5029176 h 5152466"/>
              <a:gd name="connsiteX3" fmla="*/ 0 w 3163258"/>
              <a:gd name="connsiteY3" fmla="*/ 5152466 h 5152466"/>
              <a:gd name="connsiteX4" fmla="*/ 0 w 3163258"/>
              <a:gd name="connsiteY4" fmla="*/ 0 h 5152466"/>
              <a:gd name="connsiteX0" fmla="*/ 0 w 3748885"/>
              <a:gd name="connsiteY0" fmla="*/ 0 h 5162740"/>
              <a:gd name="connsiteX1" fmla="*/ 337865 w 3748885"/>
              <a:gd name="connsiteY1" fmla="*/ 30822 h 5162740"/>
              <a:gd name="connsiteX2" fmla="*/ 3748885 w 3748885"/>
              <a:gd name="connsiteY2" fmla="*/ 5162740 h 5162740"/>
              <a:gd name="connsiteX3" fmla="*/ 0 w 3748885"/>
              <a:gd name="connsiteY3" fmla="*/ 5152466 h 5162740"/>
              <a:gd name="connsiteX4" fmla="*/ 0 w 3748885"/>
              <a:gd name="connsiteY4" fmla="*/ 0 h 5162740"/>
              <a:gd name="connsiteX0" fmla="*/ 0 w 3748885"/>
              <a:gd name="connsiteY0" fmla="*/ 0 h 5162740"/>
              <a:gd name="connsiteX1" fmla="*/ 430332 w 3748885"/>
              <a:gd name="connsiteY1" fmla="*/ 10274 h 5162740"/>
              <a:gd name="connsiteX2" fmla="*/ 3748885 w 3748885"/>
              <a:gd name="connsiteY2" fmla="*/ 5162740 h 5162740"/>
              <a:gd name="connsiteX3" fmla="*/ 0 w 3748885"/>
              <a:gd name="connsiteY3" fmla="*/ 5152466 h 5162740"/>
              <a:gd name="connsiteX4" fmla="*/ 0 w 3748885"/>
              <a:gd name="connsiteY4" fmla="*/ 0 h 5162740"/>
              <a:gd name="connsiteX0" fmla="*/ 0 w 3748885"/>
              <a:gd name="connsiteY0" fmla="*/ 0 h 5162740"/>
              <a:gd name="connsiteX1" fmla="*/ 450804 w 3748885"/>
              <a:gd name="connsiteY1" fmla="*/ 6862 h 5162740"/>
              <a:gd name="connsiteX2" fmla="*/ 3748885 w 3748885"/>
              <a:gd name="connsiteY2" fmla="*/ 5162740 h 5162740"/>
              <a:gd name="connsiteX3" fmla="*/ 0 w 3748885"/>
              <a:gd name="connsiteY3" fmla="*/ 5152466 h 5162740"/>
              <a:gd name="connsiteX4" fmla="*/ 0 w 3748885"/>
              <a:gd name="connsiteY4" fmla="*/ 0 h 5162740"/>
              <a:gd name="connsiteX0" fmla="*/ 0 w 3748885"/>
              <a:gd name="connsiteY0" fmla="*/ 0 h 5162740"/>
              <a:gd name="connsiteX1" fmla="*/ 447392 w 3748885"/>
              <a:gd name="connsiteY1" fmla="*/ 3450 h 5162740"/>
              <a:gd name="connsiteX2" fmla="*/ 3748885 w 3748885"/>
              <a:gd name="connsiteY2" fmla="*/ 5162740 h 5162740"/>
              <a:gd name="connsiteX3" fmla="*/ 0 w 3748885"/>
              <a:gd name="connsiteY3" fmla="*/ 5152466 h 5162740"/>
              <a:gd name="connsiteX4" fmla="*/ 0 w 3748885"/>
              <a:gd name="connsiteY4" fmla="*/ 0 h 5162740"/>
              <a:gd name="connsiteX0" fmla="*/ 0 w 3748885"/>
              <a:gd name="connsiteY0" fmla="*/ 0 h 5162740"/>
              <a:gd name="connsiteX1" fmla="*/ 447392 w 3748885"/>
              <a:gd name="connsiteY1" fmla="*/ 3450 h 5162740"/>
              <a:gd name="connsiteX2" fmla="*/ 3748885 w 3748885"/>
              <a:gd name="connsiteY2" fmla="*/ 5162740 h 5162740"/>
              <a:gd name="connsiteX3" fmla="*/ 0 w 3748885"/>
              <a:gd name="connsiteY3" fmla="*/ 5152466 h 5162740"/>
              <a:gd name="connsiteX4" fmla="*/ 0 w 3748885"/>
              <a:gd name="connsiteY4" fmla="*/ 0 h 5162740"/>
              <a:gd name="connsiteX0" fmla="*/ 0 w 3748885"/>
              <a:gd name="connsiteY0" fmla="*/ 0 h 5162740"/>
              <a:gd name="connsiteX1" fmla="*/ 450804 w 3748885"/>
              <a:gd name="connsiteY1" fmla="*/ 38 h 5162740"/>
              <a:gd name="connsiteX2" fmla="*/ 3748885 w 3748885"/>
              <a:gd name="connsiteY2" fmla="*/ 5162740 h 5162740"/>
              <a:gd name="connsiteX3" fmla="*/ 0 w 3748885"/>
              <a:gd name="connsiteY3" fmla="*/ 5152466 h 5162740"/>
              <a:gd name="connsiteX4" fmla="*/ 0 w 3748885"/>
              <a:gd name="connsiteY4" fmla="*/ 0 h 5162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8885" h="5162740">
                <a:moveTo>
                  <a:pt x="0" y="0"/>
                </a:moveTo>
                <a:lnTo>
                  <a:pt x="450804" y="38"/>
                </a:lnTo>
                <a:lnTo>
                  <a:pt x="3748885" y="5162740"/>
                </a:lnTo>
                <a:lnTo>
                  <a:pt x="0" y="5152466"/>
                </a:lnTo>
                <a:lnTo>
                  <a:pt x="0" y="0"/>
                </a:lnTo>
                <a:close/>
              </a:path>
            </a:pathLst>
          </a:custGeom>
          <a:solidFill>
            <a:srgbClr val="58595B"/>
          </a:solidFill>
          <a:ln w="25400" cap="flat" cmpd="sng" algn="ctr">
            <a:noFill/>
            <a:prstDash val="solid"/>
          </a:ln>
          <a:effectLst/>
        </p:spPr>
        <p:txBody>
          <a:bodyPr lIns="92879" tIns="46439" rIns="92879" bIns="46439" rtlCol="0" anchor="ctr"/>
          <a:lstStyle/>
          <a:p>
            <a:pPr marL="0" marR="0" lvl="0" indent="0" algn="ctr" defTabSz="13802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Freeform 62"/>
          <p:cNvSpPr>
            <a:spLocks noChangeAspect="1"/>
          </p:cNvSpPr>
          <p:nvPr userDrawn="1"/>
        </p:nvSpPr>
        <p:spPr bwMode="ltGray">
          <a:xfrm flipH="1">
            <a:off x="1640893" y="2575169"/>
            <a:ext cx="2158360" cy="2650569"/>
          </a:xfrm>
          <a:custGeom>
            <a:avLst/>
            <a:gdLst>
              <a:gd name="T0" fmla="*/ 718 w 1008"/>
              <a:gd name="T1" fmla="*/ 0 h 1206"/>
              <a:gd name="T2" fmla="*/ 772 w 1008"/>
              <a:gd name="T3" fmla="*/ 38 h 1206"/>
              <a:gd name="T4" fmla="*/ 820 w 1008"/>
              <a:gd name="T5" fmla="*/ 82 h 1206"/>
              <a:gd name="T6" fmla="*/ 864 w 1008"/>
              <a:gd name="T7" fmla="*/ 128 h 1206"/>
              <a:gd name="T8" fmla="*/ 902 w 1008"/>
              <a:gd name="T9" fmla="*/ 180 h 1206"/>
              <a:gd name="T10" fmla="*/ 934 w 1008"/>
              <a:gd name="T11" fmla="*/ 234 h 1206"/>
              <a:gd name="T12" fmla="*/ 960 w 1008"/>
              <a:gd name="T13" fmla="*/ 290 h 1206"/>
              <a:gd name="T14" fmla="*/ 982 w 1008"/>
              <a:gd name="T15" fmla="*/ 350 h 1206"/>
              <a:gd name="T16" fmla="*/ 996 w 1008"/>
              <a:gd name="T17" fmla="*/ 410 h 1206"/>
              <a:gd name="T18" fmla="*/ 1006 w 1008"/>
              <a:gd name="T19" fmla="*/ 472 h 1206"/>
              <a:gd name="T20" fmla="*/ 1008 w 1008"/>
              <a:gd name="T21" fmla="*/ 534 h 1206"/>
              <a:gd name="T22" fmla="*/ 1006 w 1008"/>
              <a:gd name="T23" fmla="*/ 598 h 1206"/>
              <a:gd name="T24" fmla="*/ 998 w 1008"/>
              <a:gd name="T25" fmla="*/ 662 h 1206"/>
              <a:gd name="T26" fmla="*/ 984 w 1008"/>
              <a:gd name="T27" fmla="*/ 724 h 1206"/>
              <a:gd name="T28" fmla="*/ 962 w 1008"/>
              <a:gd name="T29" fmla="*/ 786 h 1206"/>
              <a:gd name="T30" fmla="*/ 936 w 1008"/>
              <a:gd name="T31" fmla="*/ 846 h 1206"/>
              <a:gd name="T32" fmla="*/ 902 w 1008"/>
              <a:gd name="T33" fmla="*/ 904 h 1206"/>
              <a:gd name="T34" fmla="*/ 884 w 1008"/>
              <a:gd name="T35" fmla="*/ 932 h 1206"/>
              <a:gd name="T36" fmla="*/ 842 w 1008"/>
              <a:gd name="T37" fmla="*/ 984 h 1206"/>
              <a:gd name="T38" fmla="*/ 798 w 1008"/>
              <a:gd name="T39" fmla="*/ 1030 h 1206"/>
              <a:gd name="T40" fmla="*/ 748 w 1008"/>
              <a:gd name="T41" fmla="*/ 1072 h 1206"/>
              <a:gd name="T42" fmla="*/ 696 w 1008"/>
              <a:gd name="T43" fmla="*/ 1108 h 1206"/>
              <a:gd name="T44" fmla="*/ 640 w 1008"/>
              <a:gd name="T45" fmla="*/ 1138 h 1206"/>
              <a:gd name="T46" fmla="*/ 582 w 1008"/>
              <a:gd name="T47" fmla="*/ 1164 h 1206"/>
              <a:gd name="T48" fmla="*/ 524 w 1008"/>
              <a:gd name="T49" fmla="*/ 1182 h 1206"/>
              <a:gd name="T50" fmla="*/ 462 w 1008"/>
              <a:gd name="T51" fmla="*/ 1196 h 1206"/>
              <a:gd name="T52" fmla="*/ 400 w 1008"/>
              <a:gd name="T53" fmla="*/ 1204 h 1206"/>
              <a:gd name="T54" fmla="*/ 336 w 1008"/>
              <a:gd name="T55" fmla="*/ 1206 h 1206"/>
              <a:gd name="T56" fmla="*/ 274 w 1008"/>
              <a:gd name="T57" fmla="*/ 1200 h 1206"/>
              <a:gd name="T58" fmla="*/ 210 w 1008"/>
              <a:gd name="T59" fmla="*/ 1190 h 1206"/>
              <a:gd name="T60" fmla="*/ 148 w 1008"/>
              <a:gd name="T61" fmla="*/ 1174 h 1206"/>
              <a:gd name="T62" fmla="*/ 88 w 1008"/>
              <a:gd name="T63" fmla="*/ 1150 h 1206"/>
              <a:gd name="T64" fmla="*/ 28 w 1008"/>
              <a:gd name="T65" fmla="*/ 1120 h 1206"/>
              <a:gd name="T66" fmla="*/ 718 w 1008"/>
              <a:gd name="T67" fmla="*/ 0 h 1206"/>
              <a:gd name="connsiteX0" fmla="*/ 7240 w 10000"/>
              <a:gd name="connsiteY0" fmla="*/ 65 h 10000"/>
              <a:gd name="connsiteX1" fmla="*/ 7123 w 10000"/>
              <a:gd name="connsiteY1" fmla="*/ 0 h 10000"/>
              <a:gd name="connsiteX2" fmla="*/ 7401 w 10000"/>
              <a:gd name="connsiteY2" fmla="*/ 149 h 10000"/>
              <a:gd name="connsiteX3" fmla="*/ 7659 w 10000"/>
              <a:gd name="connsiteY3" fmla="*/ 315 h 10000"/>
              <a:gd name="connsiteX4" fmla="*/ 7897 w 10000"/>
              <a:gd name="connsiteY4" fmla="*/ 498 h 10000"/>
              <a:gd name="connsiteX5" fmla="*/ 8135 w 10000"/>
              <a:gd name="connsiteY5" fmla="*/ 680 h 10000"/>
              <a:gd name="connsiteX6" fmla="*/ 8353 w 10000"/>
              <a:gd name="connsiteY6" fmla="*/ 862 h 10000"/>
              <a:gd name="connsiteX7" fmla="*/ 8571 w 10000"/>
              <a:gd name="connsiteY7" fmla="*/ 1061 h 10000"/>
              <a:gd name="connsiteX8" fmla="*/ 8770 w 10000"/>
              <a:gd name="connsiteY8" fmla="*/ 1277 h 10000"/>
              <a:gd name="connsiteX9" fmla="*/ 8948 w 10000"/>
              <a:gd name="connsiteY9" fmla="*/ 1493 h 10000"/>
              <a:gd name="connsiteX10" fmla="*/ 9107 w 10000"/>
              <a:gd name="connsiteY10" fmla="*/ 1708 h 10000"/>
              <a:gd name="connsiteX11" fmla="*/ 9266 w 10000"/>
              <a:gd name="connsiteY11" fmla="*/ 1940 h 10000"/>
              <a:gd name="connsiteX12" fmla="*/ 9405 w 10000"/>
              <a:gd name="connsiteY12" fmla="*/ 2172 h 10000"/>
              <a:gd name="connsiteX13" fmla="*/ 9524 w 10000"/>
              <a:gd name="connsiteY13" fmla="*/ 2405 h 10000"/>
              <a:gd name="connsiteX14" fmla="*/ 9643 w 10000"/>
              <a:gd name="connsiteY14" fmla="*/ 2653 h 10000"/>
              <a:gd name="connsiteX15" fmla="*/ 9742 w 10000"/>
              <a:gd name="connsiteY15" fmla="*/ 2902 h 10000"/>
              <a:gd name="connsiteX16" fmla="*/ 9821 w 10000"/>
              <a:gd name="connsiteY16" fmla="*/ 3151 h 10000"/>
              <a:gd name="connsiteX17" fmla="*/ 9881 w 10000"/>
              <a:gd name="connsiteY17" fmla="*/ 3400 h 10000"/>
              <a:gd name="connsiteX18" fmla="*/ 9940 w 10000"/>
              <a:gd name="connsiteY18" fmla="*/ 3648 h 10000"/>
              <a:gd name="connsiteX19" fmla="*/ 9980 w 10000"/>
              <a:gd name="connsiteY19" fmla="*/ 3914 h 10000"/>
              <a:gd name="connsiteX20" fmla="*/ 10000 w 10000"/>
              <a:gd name="connsiteY20" fmla="*/ 4179 h 10000"/>
              <a:gd name="connsiteX21" fmla="*/ 10000 w 10000"/>
              <a:gd name="connsiteY21" fmla="*/ 4428 h 10000"/>
              <a:gd name="connsiteX22" fmla="*/ 10000 w 10000"/>
              <a:gd name="connsiteY22" fmla="*/ 4693 h 10000"/>
              <a:gd name="connsiteX23" fmla="*/ 9980 w 10000"/>
              <a:gd name="connsiteY23" fmla="*/ 4959 h 10000"/>
              <a:gd name="connsiteX24" fmla="*/ 9940 w 10000"/>
              <a:gd name="connsiteY24" fmla="*/ 5224 h 10000"/>
              <a:gd name="connsiteX25" fmla="*/ 9901 w 10000"/>
              <a:gd name="connsiteY25" fmla="*/ 5489 h 10000"/>
              <a:gd name="connsiteX26" fmla="*/ 9841 w 10000"/>
              <a:gd name="connsiteY26" fmla="*/ 5738 h 10000"/>
              <a:gd name="connsiteX27" fmla="*/ 9762 w 10000"/>
              <a:gd name="connsiteY27" fmla="*/ 6003 h 10000"/>
              <a:gd name="connsiteX28" fmla="*/ 9663 w 10000"/>
              <a:gd name="connsiteY28" fmla="*/ 6252 h 10000"/>
              <a:gd name="connsiteX29" fmla="*/ 9544 w 10000"/>
              <a:gd name="connsiteY29" fmla="*/ 6517 h 10000"/>
              <a:gd name="connsiteX30" fmla="*/ 9425 w 10000"/>
              <a:gd name="connsiteY30" fmla="*/ 6766 h 10000"/>
              <a:gd name="connsiteX31" fmla="*/ 9286 w 10000"/>
              <a:gd name="connsiteY31" fmla="*/ 7015 h 10000"/>
              <a:gd name="connsiteX32" fmla="*/ 9127 w 10000"/>
              <a:gd name="connsiteY32" fmla="*/ 7247 h 10000"/>
              <a:gd name="connsiteX33" fmla="*/ 8948 w 10000"/>
              <a:gd name="connsiteY33" fmla="*/ 7496 h 10000"/>
              <a:gd name="connsiteX34" fmla="*/ 8948 w 10000"/>
              <a:gd name="connsiteY34" fmla="*/ 7496 h 10000"/>
              <a:gd name="connsiteX35" fmla="*/ 8770 w 10000"/>
              <a:gd name="connsiteY35" fmla="*/ 7728 h 10000"/>
              <a:gd name="connsiteX36" fmla="*/ 8571 w 10000"/>
              <a:gd name="connsiteY36" fmla="*/ 7944 h 10000"/>
              <a:gd name="connsiteX37" fmla="*/ 8353 w 10000"/>
              <a:gd name="connsiteY37" fmla="*/ 8159 h 10000"/>
              <a:gd name="connsiteX38" fmla="*/ 8135 w 10000"/>
              <a:gd name="connsiteY38" fmla="*/ 8358 h 10000"/>
              <a:gd name="connsiteX39" fmla="*/ 7917 w 10000"/>
              <a:gd name="connsiteY39" fmla="*/ 8541 h 10000"/>
              <a:gd name="connsiteX40" fmla="*/ 7679 w 10000"/>
              <a:gd name="connsiteY40" fmla="*/ 8723 h 10000"/>
              <a:gd name="connsiteX41" fmla="*/ 7421 w 10000"/>
              <a:gd name="connsiteY41" fmla="*/ 8889 h 10000"/>
              <a:gd name="connsiteX42" fmla="*/ 7163 w 10000"/>
              <a:gd name="connsiteY42" fmla="*/ 9038 h 10000"/>
              <a:gd name="connsiteX43" fmla="*/ 6905 w 10000"/>
              <a:gd name="connsiteY43" fmla="*/ 9187 h 10000"/>
              <a:gd name="connsiteX44" fmla="*/ 6627 w 10000"/>
              <a:gd name="connsiteY44" fmla="*/ 9320 h 10000"/>
              <a:gd name="connsiteX45" fmla="*/ 6349 w 10000"/>
              <a:gd name="connsiteY45" fmla="*/ 9436 h 10000"/>
              <a:gd name="connsiteX46" fmla="*/ 6071 w 10000"/>
              <a:gd name="connsiteY46" fmla="*/ 9552 h 10000"/>
              <a:gd name="connsiteX47" fmla="*/ 5774 w 10000"/>
              <a:gd name="connsiteY47" fmla="*/ 9652 h 10000"/>
              <a:gd name="connsiteX48" fmla="*/ 5496 w 10000"/>
              <a:gd name="connsiteY48" fmla="*/ 9735 h 10000"/>
              <a:gd name="connsiteX49" fmla="*/ 5198 w 10000"/>
              <a:gd name="connsiteY49" fmla="*/ 9801 h 10000"/>
              <a:gd name="connsiteX50" fmla="*/ 4881 w 10000"/>
              <a:gd name="connsiteY50" fmla="*/ 9867 h 10000"/>
              <a:gd name="connsiteX51" fmla="*/ 4583 w 10000"/>
              <a:gd name="connsiteY51" fmla="*/ 9917 h 10000"/>
              <a:gd name="connsiteX52" fmla="*/ 4266 w 10000"/>
              <a:gd name="connsiteY52" fmla="*/ 9950 h 10000"/>
              <a:gd name="connsiteX53" fmla="*/ 3968 w 10000"/>
              <a:gd name="connsiteY53" fmla="*/ 9983 h 10000"/>
              <a:gd name="connsiteX54" fmla="*/ 3651 w 10000"/>
              <a:gd name="connsiteY54" fmla="*/ 10000 h 10000"/>
              <a:gd name="connsiteX55" fmla="*/ 3333 w 10000"/>
              <a:gd name="connsiteY55" fmla="*/ 10000 h 10000"/>
              <a:gd name="connsiteX56" fmla="*/ 3036 w 10000"/>
              <a:gd name="connsiteY56" fmla="*/ 9983 h 10000"/>
              <a:gd name="connsiteX57" fmla="*/ 2718 w 10000"/>
              <a:gd name="connsiteY57" fmla="*/ 9950 h 10000"/>
              <a:gd name="connsiteX58" fmla="*/ 2401 w 10000"/>
              <a:gd name="connsiteY58" fmla="*/ 9917 h 10000"/>
              <a:gd name="connsiteX59" fmla="*/ 2083 w 10000"/>
              <a:gd name="connsiteY59" fmla="*/ 9867 h 10000"/>
              <a:gd name="connsiteX60" fmla="*/ 1786 w 10000"/>
              <a:gd name="connsiteY60" fmla="*/ 9801 h 10000"/>
              <a:gd name="connsiteX61" fmla="*/ 1468 w 10000"/>
              <a:gd name="connsiteY61" fmla="*/ 9735 h 10000"/>
              <a:gd name="connsiteX62" fmla="*/ 1171 w 10000"/>
              <a:gd name="connsiteY62" fmla="*/ 9635 h 10000"/>
              <a:gd name="connsiteX63" fmla="*/ 873 w 10000"/>
              <a:gd name="connsiteY63" fmla="*/ 9536 h 10000"/>
              <a:gd name="connsiteX64" fmla="*/ 575 w 10000"/>
              <a:gd name="connsiteY64" fmla="*/ 9420 h 10000"/>
              <a:gd name="connsiteX65" fmla="*/ 278 w 10000"/>
              <a:gd name="connsiteY65" fmla="*/ 9287 h 10000"/>
              <a:gd name="connsiteX66" fmla="*/ 0 w 10000"/>
              <a:gd name="connsiteY66" fmla="*/ 9138 h 10000"/>
              <a:gd name="connsiteX67" fmla="*/ 7240 w 10000"/>
              <a:gd name="connsiteY67" fmla="*/ 65 h 10000"/>
              <a:gd name="connsiteX0" fmla="*/ 6927 w 10000"/>
              <a:gd name="connsiteY0" fmla="*/ 98 h 10000"/>
              <a:gd name="connsiteX1" fmla="*/ 7123 w 10000"/>
              <a:gd name="connsiteY1" fmla="*/ 0 h 10000"/>
              <a:gd name="connsiteX2" fmla="*/ 7401 w 10000"/>
              <a:gd name="connsiteY2" fmla="*/ 149 h 10000"/>
              <a:gd name="connsiteX3" fmla="*/ 7659 w 10000"/>
              <a:gd name="connsiteY3" fmla="*/ 315 h 10000"/>
              <a:gd name="connsiteX4" fmla="*/ 7897 w 10000"/>
              <a:gd name="connsiteY4" fmla="*/ 498 h 10000"/>
              <a:gd name="connsiteX5" fmla="*/ 8135 w 10000"/>
              <a:gd name="connsiteY5" fmla="*/ 680 h 10000"/>
              <a:gd name="connsiteX6" fmla="*/ 8353 w 10000"/>
              <a:gd name="connsiteY6" fmla="*/ 862 h 10000"/>
              <a:gd name="connsiteX7" fmla="*/ 8571 w 10000"/>
              <a:gd name="connsiteY7" fmla="*/ 1061 h 10000"/>
              <a:gd name="connsiteX8" fmla="*/ 8770 w 10000"/>
              <a:gd name="connsiteY8" fmla="*/ 1277 h 10000"/>
              <a:gd name="connsiteX9" fmla="*/ 8948 w 10000"/>
              <a:gd name="connsiteY9" fmla="*/ 1493 h 10000"/>
              <a:gd name="connsiteX10" fmla="*/ 9107 w 10000"/>
              <a:gd name="connsiteY10" fmla="*/ 1708 h 10000"/>
              <a:gd name="connsiteX11" fmla="*/ 9266 w 10000"/>
              <a:gd name="connsiteY11" fmla="*/ 1940 h 10000"/>
              <a:gd name="connsiteX12" fmla="*/ 9405 w 10000"/>
              <a:gd name="connsiteY12" fmla="*/ 2172 h 10000"/>
              <a:gd name="connsiteX13" fmla="*/ 9524 w 10000"/>
              <a:gd name="connsiteY13" fmla="*/ 2405 h 10000"/>
              <a:gd name="connsiteX14" fmla="*/ 9643 w 10000"/>
              <a:gd name="connsiteY14" fmla="*/ 2653 h 10000"/>
              <a:gd name="connsiteX15" fmla="*/ 9742 w 10000"/>
              <a:gd name="connsiteY15" fmla="*/ 2902 h 10000"/>
              <a:gd name="connsiteX16" fmla="*/ 9821 w 10000"/>
              <a:gd name="connsiteY16" fmla="*/ 3151 h 10000"/>
              <a:gd name="connsiteX17" fmla="*/ 9881 w 10000"/>
              <a:gd name="connsiteY17" fmla="*/ 3400 h 10000"/>
              <a:gd name="connsiteX18" fmla="*/ 9940 w 10000"/>
              <a:gd name="connsiteY18" fmla="*/ 3648 h 10000"/>
              <a:gd name="connsiteX19" fmla="*/ 9980 w 10000"/>
              <a:gd name="connsiteY19" fmla="*/ 3914 h 10000"/>
              <a:gd name="connsiteX20" fmla="*/ 10000 w 10000"/>
              <a:gd name="connsiteY20" fmla="*/ 4179 h 10000"/>
              <a:gd name="connsiteX21" fmla="*/ 10000 w 10000"/>
              <a:gd name="connsiteY21" fmla="*/ 4428 h 10000"/>
              <a:gd name="connsiteX22" fmla="*/ 10000 w 10000"/>
              <a:gd name="connsiteY22" fmla="*/ 4693 h 10000"/>
              <a:gd name="connsiteX23" fmla="*/ 9980 w 10000"/>
              <a:gd name="connsiteY23" fmla="*/ 4959 h 10000"/>
              <a:gd name="connsiteX24" fmla="*/ 9940 w 10000"/>
              <a:gd name="connsiteY24" fmla="*/ 5224 h 10000"/>
              <a:gd name="connsiteX25" fmla="*/ 9901 w 10000"/>
              <a:gd name="connsiteY25" fmla="*/ 5489 h 10000"/>
              <a:gd name="connsiteX26" fmla="*/ 9841 w 10000"/>
              <a:gd name="connsiteY26" fmla="*/ 5738 h 10000"/>
              <a:gd name="connsiteX27" fmla="*/ 9762 w 10000"/>
              <a:gd name="connsiteY27" fmla="*/ 6003 h 10000"/>
              <a:gd name="connsiteX28" fmla="*/ 9663 w 10000"/>
              <a:gd name="connsiteY28" fmla="*/ 6252 h 10000"/>
              <a:gd name="connsiteX29" fmla="*/ 9544 w 10000"/>
              <a:gd name="connsiteY29" fmla="*/ 6517 h 10000"/>
              <a:gd name="connsiteX30" fmla="*/ 9425 w 10000"/>
              <a:gd name="connsiteY30" fmla="*/ 6766 h 10000"/>
              <a:gd name="connsiteX31" fmla="*/ 9286 w 10000"/>
              <a:gd name="connsiteY31" fmla="*/ 7015 h 10000"/>
              <a:gd name="connsiteX32" fmla="*/ 9127 w 10000"/>
              <a:gd name="connsiteY32" fmla="*/ 7247 h 10000"/>
              <a:gd name="connsiteX33" fmla="*/ 8948 w 10000"/>
              <a:gd name="connsiteY33" fmla="*/ 7496 h 10000"/>
              <a:gd name="connsiteX34" fmla="*/ 8948 w 10000"/>
              <a:gd name="connsiteY34" fmla="*/ 7496 h 10000"/>
              <a:gd name="connsiteX35" fmla="*/ 8770 w 10000"/>
              <a:gd name="connsiteY35" fmla="*/ 7728 h 10000"/>
              <a:gd name="connsiteX36" fmla="*/ 8571 w 10000"/>
              <a:gd name="connsiteY36" fmla="*/ 7944 h 10000"/>
              <a:gd name="connsiteX37" fmla="*/ 8353 w 10000"/>
              <a:gd name="connsiteY37" fmla="*/ 8159 h 10000"/>
              <a:gd name="connsiteX38" fmla="*/ 8135 w 10000"/>
              <a:gd name="connsiteY38" fmla="*/ 8358 h 10000"/>
              <a:gd name="connsiteX39" fmla="*/ 7917 w 10000"/>
              <a:gd name="connsiteY39" fmla="*/ 8541 h 10000"/>
              <a:gd name="connsiteX40" fmla="*/ 7679 w 10000"/>
              <a:gd name="connsiteY40" fmla="*/ 8723 h 10000"/>
              <a:gd name="connsiteX41" fmla="*/ 7421 w 10000"/>
              <a:gd name="connsiteY41" fmla="*/ 8889 h 10000"/>
              <a:gd name="connsiteX42" fmla="*/ 7163 w 10000"/>
              <a:gd name="connsiteY42" fmla="*/ 9038 h 10000"/>
              <a:gd name="connsiteX43" fmla="*/ 6905 w 10000"/>
              <a:gd name="connsiteY43" fmla="*/ 9187 h 10000"/>
              <a:gd name="connsiteX44" fmla="*/ 6627 w 10000"/>
              <a:gd name="connsiteY44" fmla="*/ 9320 h 10000"/>
              <a:gd name="connsiteX45" fmla="*/ 6349 w 10000"/>
              <a:gd name="connsiteY45" fmla="*/ 9436 h 10000"/>
              <a:gd name="connsiteX46" fmla="*/ 6071 w 10000"/>
              <a:gd name="connsiteY46" fmla="*/ 9552 h 10000"/>
              <a:gd name="connsiteX47" fmla="*/ 5774 w 10000"/>
              <a:gd name="connsiteY47" fmla="*/ 9652 h 10000"/>
              <a:gd name="connsiteX48" fmla="*/ 5496 w 10000"/>
              <a:gd name="connsiteY48" fmla="*/ 9735 h 10000"/>
              <a:gd name="connsiteX49" fmla="*/ 5198 w 10000"/>
              <a:gd name="connsiteY49" fmla="*/ 9801 h 10000"/>
              <a:gd name="connsiteX50" fmla="*/ 4881 w 10000"/>
              <a:gd name="connsiteY50" fmla="*/ 9867 h 10000"/>
              <a:gd name="connsiteX51" fmla="*/ 4583 w 10000"/>
              <a:gd name="connsiteY51" fmla="*/ 9917 h 10000"/>
              <a:gd name="connsiteX52" fmla="*/ 4266 w 10000"/>
              <a:gd name="connsiteY52" fmla="*/ 9950 h 10000"/>
              <a:gd name="connsiteX53" fmla="*/ 3968 w 10000"/>
              <a:gd name="connsiteY53" fmla="*/ 9983 h 10000"/>
              <a:gd name="connsiteX54" fmla="*/ 3651 w 10000"/>
              <a:gd name="connsiteY54" fmla="*/ 10000 h 10000"/>
              <a:gd name="connsiteX55" fmla="*/ 3333 w 10000"/>
              <a:gd name="connsiteY55" fmla="*/ 10000 h 10000"/>
              <a:gd name="connsiteX56" fmla="*/ 3036 w 10000"/>
              <a:gd name="connsiteY56" fmla="*/ 9983 h 10000"/>
              <a:gd name="connsiteX57" fmla="*/ 2718 w 10000"/>
              <a:gd name="connsiteY57" fmla="*/ 9950 h 10000"/>
              <a:gd name="connsiteX58" fmla="*/ 2401 w 10000"/>
              <a:gd name="connsiteY58" fmla="*/ 9917 h 10000"/>
              <a:gd name="connsiteX59" fmla="*/ 2083 w 10000"/>
              <a:gd name="connsiteY59" fmla="*/ 9867 h 10000"/>
              <a:gd name="connsiteX60" fmla="*/ 1786 w 10000"/>
              <a:gd name="connsiteY60" fmla="*/ 9801 h 10000"/>
              <a:gd name="connsiteX61" fmla="*/ 1468 w 10000"/>
              <a:gd name="connsiteY61" fmla="*/ 9735 h 10000"/>
              <a:gd name="connsiteX62" fmla="*/ 1171 w 10000"/>
              <a:gd name="connsiteY62" fmla="*/ 9635 h 10000"/>
              <a:gd name="connsiteX63" fmla="*/ 873 w 10000"/>
              <a:gd name="connsiteY63" fmla="*/ 9536 h 10000"/>
              <a:gd name="connsiteX64" fmla="*/ 575 w 10000"/>
              <a:gd name="connsiteY64" fmla="*/ 9420 h 10000"/>
              <a:gd name="connsiteX65" fmla="*/ 278 w 10000"/>
              <a:gd name="connsiteY65" fmla="*/ 9287 h 10000"/>
              <a:gd name="connsiteX66" fmla="*/ 0 w 10000"/>
              <a:gd name="connsiteY66" fmla="*/ 9138 h 10000"/>
              <a:gd name="connsiteX67" fmla="*/ 6927 w 10000"/>
              <a:gd name="connsiteY67" fmla="*/ 98 h 10000"/>
              <a:gd name="connsiteX0" fmla="*/ 0 w 10000"/>
              <a:gd name="connsiteY0" fmla="*/ 9138 h 10000"/>
              <a:gd name="connsiteX1" fmla="*/ 7123 w 10000"/>
              <a:gd name="connsiteY1" fmla="*/ 0 h 10000"/>
              <a:gd name="connsiteX2" fmla="*/ 7401 w 10000"/>
              <a:gd name="connsiteY2" fmla="*/ 149 h 10000"/>
              <a:gd name="connsiteX3" fmla="*/ 7659 w 10000"/>
              <a:gd name="connsiteY3" fmla="*/ 315 h 10000"/>
              <a:gd name="connsiteX4" fmla="*/ 7897 w 10000"/>
              <a:gd name="connsiteY4" fmla="*/ 498 h 10000"/>
              <a:gd name="connsiteX5" fmla="*/ 8135 w 10000"/>
              <a:gd name="connsiteY5" fmla="*/ 680 h 10000"/>
              <a:gd name="connsiteX6" fmla="*/ 8353 w 10000"/>
              <a:gd name="connsiteY6" fmla="*/ 862 h 10000"/>
              <a:gd name="connsiteX7" fmla="*/ 8571 w 10000"/>
              <a:gd name="connsiteY7" fmla="*/ 1061 h 10000"/>
              <a:gd name="connsiteX8" fmla="*/ 8770 w 10000"/>
              <a:gd name="connsiteY8" fmla="*/ 1277 h 10000"/>
              <a:gd name="connsiteX9" fmla="*/ 8948 w 10000"/>
              <a:gd name="connsiteY9" fmla="*/ 1493 h 10000"/>
              <a:gd name="connsiteX10" fmla="*/ 9107 w 10000"/>
              <a:gd name="connsiteY10" fmla="*/ 1708 h 10000"/>
              <a:gd name="connsiteX11" fmla="*/ 9266 w 10000"/>
              <a:gd name="connsiteY11" fmla="*/ 1940 h 10000"/>
              <a:gd name="connsiteX12" fmla="*/ 9405 w 10000"/>
              <a:gd name="connsiteY12" fmla="*/ 2172 h 10000"/>
              <a:gd name="connsiteX13" fmla="*/ 9524 w 10000"/>
              <a:gd name="connsiteY13" fmla="*/ 2405 h 10000"/>
              <a:gd name="connsiteX14" fmla="*/ 9643 w 10000"/>
              <a:gd name="connsiteY14" fmla="*/ 2653 h 10000"/>
              <a:gd name="connsiteX15" fmla="*/ 9742 w 10000"/>
              <a:gd name="connsiteY15" fmla="*/ 2902 h 10000"/>
              <a:gd name="connsiteX16" fmla="*/ 9821 w 10000"/>
              <a:gd name="connsiteY16" fmla="*/ 3151 h 10000"/>
              <a:gd name="connsiteX17" fmla="*/ 9881 w 10000"/>
              <a:gd name="connsiteY17" fmla="*/ 3400 h 10000"/>
              <a:gd name="connsiteX18" fmla="*/ 9940 w 10000"/>
              <a:gd name="connsiteY18" fmla="*/ 3648 h 10000"/>
              <a:gd name="connsiteX19" fmla="*/ 9980 w 10000"/>
              <a:gd name="connsiteY19" fmla="*/ 3914 h 10000"/>
              <a:gd name="connsiteX20" fmla="*/ 10000 w 10000"/>
              <a:gd name="connsiteY20" fmla="*/ 4179 h 10000"/>
              <a:gd name="connsiteX21" fmla="*/ 10000 w 10000"/>
              <a:gd name="connsiteY21" fmla="*/ 4428 h 10000"/>
              <a:gd name="connsiteX22" fmla="*/ 10000 w 10000"/>
              <a:gd name="connsiteY22" fmla="*/ 4693 h 10000"/>
              <a:gd name="connsiteX23" fmla="*/ 9980 w 10000"/>
              <a:gd name="connsiteY23" fmla="*/ 4959 h 10000"/>
              <a:gd name="connsiteX24" fmla="*/ 9940 w 10000"/>
              <a:gd name="connsiteY24" fmla="*/ 5224 h 10000"/>
              <a:gd name="connsiteX25" fmla="*/ 9901 w 10000"/>
              <a:gd name="connsiteY25" fmla="*/ 5489 h 10000"/>
              <a:gd name="connsiteX26" fmla="*/ 9841 w 10000"/>
              <a:gd name="connsiteY26" fmla="*/ 5738 h 10000"/>
              <a:gd name="connsiteX27" fmla="*/ 9762 w 10000"/>
              <a:gd name="connsiteY27" fmla="*/ 6003 h 10000"/>
              <a:gd name="connsiteX28" fmla="*/ 9663 w 10000"/>
              <a:gd name="connsiteY28" fmla="*/ 6252 h 10000"/>
              <a:gd name="connsiteX29" fmla="*/ 9544 w 10000"/>
              <a:gd name="connsiteY29" fmla="*/ 6517 h 10000"/>
              <a:gd name="connsiteX30" fmla="*/ 9425 w 10000"/>
              <a:gd name="connsiteY30" fmla="*/ 6766 h 10000"/>
              <a:gd name="connsiteX31" fmla="*/ 9286 w 10000"/>
              <a:gd name="connsiteY31" fmla="*/ 7015 h 10000"/>
              <a:gd name="connsiteX32" fmla="*/ 9127 w 10000"/>
              <a:gd name="connsiteY32" fmla="*/ 7247 h 10000"/>
              <a:gd name="connsiteX33" fmla="*/ 8948 w 10000"/>
              <a:gd name="connsiteY33" fmla="*/ 7496 h 10000"/>
              <a:gd name="connsiteX34" fmla="*/ 8948 w 10000"/>
              <a:gd name="connsiteY34" fmla="*/ 7496 h 10000"/>
              <a:gd name="connsiteX35" fmla="*/ 8770 w 10000"/>
              <a:gd name="connsiteY35" fmla="*/ 7728 h 10000"/>
              <a:gd name="connsiteX36" fmla="*/ 8571 w 10000"/>
              <a:gd name="connsiteY36" fmla="*/ 7944 h 10000"/>
              <a:gd name="connsiteX37" fmla="*/ 8353 w 10000"/>
              <a:gd name="connsiteY37" fmla="*/ 8159 h 10000"/>
              <a:gd name="connsiteX38" fmla="*/ 8135 w 10000"/>
              <a:gd name="connsiteY38" fmla="*/ 8358 h 10000"/>
              <a:gd name="connsiteX39" fmla="*/ 7917 w 10000"/>
              <a:gd name="connsiteY39" fmla="*/ 8541 h 10000"/>
              <a:gd name="connsiteX40" fmla="*/ 7679 w 10000"/>
              <a:gd name="connsiteY40" fmla="*/ 8723 h 10000"/>
              <a:gd name="connsiteX41" fmla="*/ 7421 w 10000"/>
              <a:gd name="connsiteY41" fmla="*/ 8889 h 10000"/>
              <a:gd name="connsiteX42" fmla="*/ 7163 w 10000"/>
              <a:gd name="connsiteY42" fmla="*/ 9038 h 10000"/>
              <a:gd name="connsiteX43" fmla="*/ 6905 w 10000"/>
              <a:gd name="connsiteY43" fmla="*/ 9187 h 10000"/>
              <a:gd name="connsiteX44" fmla="*/ 6627 w 10000"/>
              <a:gd name="connsiteY44" fmla="*/ 9320 h 10000"/>
              <a:gd name="connsiteX45" fmla="*/ 6349 w 10000"/>
              <a:gd name="connsiteY45" fmla="*/ 9436 h 10000"/>
              <a:gd name="connsiteX46" fmla="*/ 6071 w 10000"/>
              <a:gd name="connsiteY46" fmla="*/ 9552 h 10000"/>
              <a:gd name="connsiteX47" fmla="*/ 5774 w 10000"/>
              <a:gd name="connsiteY47" fmla="*/ 9652 h 10000"/>
              <a:gd name="connsiteX48" fmla="*/ 5496 w 10000"/>
              <a:gd name="connsiteY48" fmla="*/ 9735 h 10000"/>
              <a:gd name="connsiteX49" fmla="*/ 5198 w 10000"/>
              <a:gd name="connsiteY49" fmla="*/ 9801 h 10000"/>
              <a:gd name="connsiteX50" fmla="*/ 4881 w 10000"/>
              <a:gd name="connsiteY50" fmla="*/ 9867 h 10000"/>
              <a:gd name="connsiteX51" fmla="*/ 4583 w 10000"/>
              <a:gd name="connsiteY51" fmla="*/ 9917 h 10000"/>
              <a:gd name="connsiteX52" fmla="*/ 4266 w 10000"/>
              <a:gd name="connsiteY52" fmla="*/ 9950 h 10000"/>
              <a:gd name="connsiteX53" fmla="*/ 3968 w 10000"/>
              <a:gd name="connsiteY53" fmla="*/ 9983 h 10000"/>
              <a:gd name="connsiteX54" fmla="*/ 3651 w 10000"/>
              <a:gd name="connsiteY54" fmla="*/ 10000 h 10000"/>
              <a:gd name="connsiteX55" fmla="*/ 3333 w 10000"/>
              <a:gd name="connsiteY55" fmla="*/ 10000 h 10000"/>
              <a:gd name="connsiteX56" fmla="*/ 3036 w 10000"/>
              <a:gd name="connsiteY56" fmla="*/ 9983 h 10000"/>
              <a:gd name="connsiteX57" fmla="*/ 2718 w 10000"/>
              <a:gd name="connsiteY57" fmla="*/ 9950 h 10000"/>
              <a:gd name="connsiteX58" fmla="*/ 2401 w 10000"/>
              <a:gd name="connsiteY58" fmla="*/ 9917 h 10000"/>
              <a:gd name="connsiteX59" fmla="*/ 2083 w 10000"/>
              <a:gd name="connsiteY59" fmla="*/ 9867 h 10000"/>
              <a:gd name="connsiteX60" fmla="*/ 1786 w 10000"/>
              <a:gd name="connsiteY60" fmla="*/ 9801 h 10000"/>
              <a:gd name="connsiteX61" fmla="*/ 1468 w 10000"/>
              <a:gd name="connsiteY61" fmla="*/ 9735 h 10000"/>
              <a:gd name="connsiteX62" fmla="*/ 1171 w 10000"/>
              <a:gd name="connsiteY62" fmla="*/ 9635 h 10000"/>
              <a:gd name="connsiteX63" fmla="*/ 873 w 10000"/>
              <a:gd name="connsiteY63" fmla="*/ 9536 h 10000"/>
              <a:gd name="connsiteX64" fmla="*/ 575 w 10000"/>
              <a:gd name="connsiteY64" fmla="*/ 9420 h 10000"/>
              <a:gd name="connsiteX65" fmla="*/ 278 w 10000"/>
              <a:gd name="connsiteY65" fmla="*/ 9287 h 10000"/>
              <a:gd name="connsiteX66" fmla="*/ 0 w 10000"/>
              <a:gd name="connsiteY66" fmla="*/ 9138 h 10000"/>
              <a:gd name="connsiteX0" fmla="*/ 0 w 10000"/>
              <a:gd name="connsiteY0" fmla="*/ 9073 h 9935"/>
              <a:gd name="connsiteX1" fmla="*/ 7221 w 10000"/>
              <a:gd name="connsiteY1" fmla="*/ 0 h 9935"/>
              <a:gd name="connsiteX2" fmla="*/ 7401 w 10000"/>
              <a:gd name="connsiteY2" fmla="*/ 84 h 9935"/>
              <a:gd name="connsiteX3" fmla="*/ 7659 w 10000"/>
              <a:gd name="connsiteY3" fmla="*/ 250 h 9935"/>
              <a:gd name="connsiteX4" fmla="*/ 7897 w 10000"/>
              <a:gd name="connsiteY4" fmla="*/ 433 h 9935"/>
              <a:gd name="connsiteX5" fmla="*/ 8135 w 10000"/>
              <a:gd name="connsiteY5" fmla="*/ 615 h 9935"/>
              <a:gd name="connsiteX6" fmla="*/ 8353 w 10000"/>
              <a:gd name="connsiteY6" fmla="*/ 797 h 9935"/>
              <a:gd name="connsiteX7" fmla="*/ 8571 w 10000"/>
              <a:gd name="connsiteY7" fmla="*/ 996 h 9935"/>
              <a:gd name="connsiteX8" fmla="*/ 8770 w 10000"/>
              <a:gd name="connsiteY8" fmla="*/ 1212 h 9935"/>
              <a:gd name="connsiteX9" fmla="*/ 8948 w 10000"/>
              <a:gd name="connsiteY9" fmla="*/ 1428 h 9935"/>
              <a:gd name="connsiteX10" fmla="*/ 9107 w 10000"/>
              <a:gd name="connsiteY10" fmla="*/ 1643 h 9935"/>
              <a:gd name="connsiteX11" fmla="*/ 9266 w 10000"/>
              <a:gd name="connsiteY11" fmla="*/ 1875 h 9935"/>
              <a:gd name="connsiteX12" fmla="*/ 9405 w 10000"/>
              <a:gd name="connsiteY12" fmla="*/ 2107 h 9935"/>
              <a:gd name="connsiteX13" fmla="*/ 9524 w 10000"/>
              <a:gd name="connsiteY13" fmla="*/ 2340 h 9935"/>
              <a:gd name="connsiteX14" fmla="*/ 9643 w 10000"/>
              <a:gd name="connsiteY14" fmla="*/ 2588 h 9935"/>
              <a:gd name="connsiteX15" fmla="*/ 9742 w 10000"/>
              <a:gd name="connsiteY15" fmla="*/ 2837 h 9935"/>
              <a:gd name="connsiteX16" fmla="*/ 9821 w 10000"/>
              <a:gd name="connsiteY16" fmla="*/ 3086 h 9935"/>
              <a:gd name="connsiteX17" fmla="*/ 9881 w 10000"/>
              <a:gd name="connsiteY17" fmla="*/ 3335 h 9935"/>
              <a:gd name="connsiteX18" fmla="*/ 9940 w 10000"/>
              <a:gd name="connsiteY18" fmla="*/ 3583 h 9935"/>
              <a:gd name="connsiteX19" fmla="*/ 9980 w 10000"/>
              <a:gd name="connsiteY19" fmla="*/ 3849 h 9935"/>
              <a:gd name="connsiteX20" fmla="*/ 10000 w 10000"/>
              <a:gd name="connsiteY20" fmla="*/ 4114 h 9935"/>
              <a:gd name="connsiteX21" fmla="*/ 10000 w 10000"/>
              <a:gd name="connsiteY21" fmla="*/ 4363 h 9935"/>
              <a:gd name="connsiteX22" fmla="*/ 10000 w 10000"/>
              <a:gd name="connsiteY22" fmla="*/ 4628 h 9935"/>
              <a:gd name="connsiteX23" fmla="*/ 9980 w 10000"/>
              <a:gd name="connsiteY23" fmla="*/ 4894 h 9935"/>
              <a:gd name="connsiteX24" fmla="*/ 9940 w 10000"/>
              <a:gd name="connsiteY24" fmla="*/ 5159 h 9935"/>
              <a:gd name="connsiteX25" fmla="*/ 9901 w 10000"/>
              <a:gd name="connsiteY25" fmla="*/ 5424 h 9935"/>
              <a:gd name="connsiteX26" fmla="*/ 9841 w 10000"/>
              <a:gd name="connsiteY26" fmla="*/ 5673 h 9935"/>
              <a:gd name="connsiteX27" fmla="*/ 9762 w 10000"/>
              <a:gd name="connsiteY27" fmla="*/ 5938 h 9935"/>
              <a:gd name="connsiteX28" fmla="*/ 9663 w 10000"/>
              <a:gd name="connsiteY28" fmla="*/ 6187 h 9935"/>
              <a:gd name="connsiteX29" fmla="*/ 9544 w 10000"/>
              <a:gd name="connsiteY29" fmla="*/ 6452 h 9935"/>
              <a:gd name="connsiteX30" fmla="*/ 9425 w 10000"/>
              <a:gd name="connsiteY30" fmla="*/ 6701 h 9935"/>
              <a:gd name="connsiteX31" fmla="*/ 9286 w 10000"/>
              <a:gd name="connsiteY31" fmla="*/ 6950 h 9935"/>
              <a:gd name="connsiteX32" fmla="*/ 9127 w 10000"/>
              <a:gd name="connsiteY32" fmla="*/ 7182 h 9935"/>
              <a:gd name="connsiteX33" fmla="*/ 8948 w 10000"/>
              <a:gd name="connsiteY33" fmla="*/ 7431 h 9935"/>
              <a:gd name="connsiteX34" fmla="*/ 8948 w 10000"/>
              <a:gd name="connsiteY34" fmla="*/ 7431 h 9935"/>
              <a:gd name="connsiteX35" fmla="*/ 8770 w 10000"/>
              <a:gd name="connsiteY35" fmla="*/ 7663 h 9935"/>
              <a:gd name="connsiteX36" fmla="*/ 8571 w 10000"/>
              <a:gd name="connsiteY36" fmla="*/ 7879 h 9935"/>
              <a:gd name="connsiteX37" fmla="*/ 8353 w 10000"/>
              <a:gd name="connsiteY37" fmla="*/ 8094 h 9935"/>
              <a:gd name="connsiteX38" fmla="*/ 8135 w 10000"/>
              <a:gd name="connsiteY38" fmla="*/ 8293 h 9935"/>
              <a:gd name="connsiteX39" fmla="*/ 7917 w 10000"/>
              <a:gd name="connsiteY39" fmla="*/ 8476 h 9935"/>
              <a:gd name="connsiteX40" fmla="*/ 7679 w 10000"/>
              <a:gd name="connsiteY40" fmla="*/ 8658 h 9935"/>
              <a:gd name="connsiteX41" fmla="*/ 7421 w 10000"/>
              <a:gd name="connsiteY41" fmla="*/ 8824 h 9935"/>
              <a:gd name="connsiteX42" fmla="*/ 7163 w 10000"/>
              <a:gd name="connsiteY42" fmla="*/ 8973 h 9935"/>
              <a:gd name="connsiteX43" fmla="*/ 6905 w 10000"/>
              <a:gd name="connsiteY43" fmla="*/ 9122 h 9935"/>
              <a:gd name="connsiteX44" fmla="*/ 6627 w 10000"/>
              <a:gd name="connsiteY44" fmla="*/ 9255 h 9935"/>
              <a:gd name="connsiteX45" fmla="*/ 6349 w 10000"/>
              <a:gd name="connsiteY45" fmla="*/ 9371 h 9935"/>
              <a:gd name="connsiteX46" fmla="*/ 6071 w 10000"/>
              <a:gd name="connsiteY46" fmla="*/ 9487 h 9935"/>
              <a:gd name="connsiteX47" fmla="*/ 5774 w 10000"/>
              <a:gd name="connsiteY47" fmla="*/ 9587 h 9935"/>
              <a:gd name="connsiteX48" fmla="*/ 5496 w 10000"/>
              <a:gd name="connsiteY48" fmla="*/ 9670 h 9935"/>
              <a:gd name="connsiteX49" fmla="*/ 5198 w 10000"/>
              <a:gd name="connsiteY49" fmla="*/ 9736 h 9935"/>
              <a:gd name="connsiteX50" fmla="*/ 4881 w 10000"/>
              <a:gd name="connsiteY50" fmla="*/ 9802 h 9935"/>
              <a:gd name="connsiteX51" fmla="*/ 4583 w 10000"/>
              <a:gd name="connsiteY51" fmla="*/ 9852 h 9935"/>
              <a:gd name="connsiteX52" fmla="*/ 4266 w 10000"/>
              <a:gd name="connsiteY52" fmla="*/ 9885 h 9935"/>
              <a:gd name="connsiteX53" fmla="*/ 3968 w 10000"/>
              <a:gd name="connsiteY53" fmla="*/ 9918 h 9935"/>
              <a:gd name="connsiteX54" fmla="*/ 3651 w 10000"/>
              <a:gd name="connsiteY54" fmla="*/ 9935 h 9935"/>
              <a:gd name="connsiteX55" fmla="*/ 3333 w 10000"/>
              <a:gd name="connsiteY55" fmla="*/ 9935 h 9935"/>
              <a:gd name="connsiteX56" fmla="*/ 3036 w 10000"/>
              <a:gd name="connsiteY56" fmla="*/ 9918 h 9935"/>
              <a:gd name="connsiteX57" fmla="*/ 2718 w 10000"/>
              <a:gd name="connsiteY57" fmla="*/ 9885 h 9935"/>
              <a:gd name="connsiteX58" fmla="*/ 2401 w 10000"/>
              <a:gd name="connsiteY58" fmla="*/ 9852 h 9935"/>
              <a:gd name="connsiteX59" fmla="*/ 2083 w 10000"/>
              <a:gd name="connsiteY59" fmla="*/ 9802 h 9935"/>
              <a:gd name="connsiteX60" fmla="*/ 1786 w 10000"/>
              <a:gd name="connsiteY60" fmla="*/ 9736 h 9935"/>
              <a:gd name="connsiteX61" fmla="*/ 1468 w 10000"/>
              <a:gd name="connsiteY61" fmla="*/ 9670 h 9935"/>
              <a:gd name="connsiteX62" fmla="*/ 1171 w 10000"/>
              <a:gd name="connsiteY62" fmla="*/ 9570 h 9935"/>
              <a:gd name="connsiteX63" fmla="*/ 873 w 10000"/>
              <a:gd name="connsiteY63" fmla="*/ 9471 h 9935"/>
              <a:gd name="connsiteX64" fmla="*/ 575 w 10000"/>
              <a:gd name="connsiteY64" fmla="*/ 9355 h 9935"/>
              <a:gd name="connsiteX65" fmla="*/ 278 w 10000"/>
              <a:gd name="connsiteY65" fmla="*/ 9222 h 9935"/>
              <a:gd name="connsiteX66" fmla="*/ 0 w 10000"/>
              <a:gd name="connsiteY66" fmla="*/ 9073 h 9935"/>
              <a:gd name="connsiteX0" fmla="*/ 0 w 10000"/>
              <a:gd name="connsiteY0" fmla="*/ 9132 h 10000"/>
              <a:gd name="connsiteX1" fmla="*/ 7221 w 10000"/>
              <a:gd name="connsiteY1" fmla="*/ 0 h 10000"/>
              <a:gd name="connsiteX2" fmla="*/ 7401 w 10000"/>
              <a:gd name="connsiteY2" fmla="*/ 85 h 10000"/>
              <a:gd name="connsiteX3" fmla="*/ 7659 w 10000"/>
              <a:gd name="connsiteY3" fmla="*/ 252 h 10000"/>
              <a:gd name="connsiteX4" fmla="*/ 7897 w 10000"/>
              <a:gd name="connsiteY4" fmla="*/ 436 h 10000"/>
              <a:gd name="connsiteX5" fmla="*/ 8135 w 10000"/>
              <a:gd name="connsiteY5" fmla="*/ 619 h 10000"/>
              <a:gd name="connsiteX6" fmla="*/ 8353 w 10000"/>
              <a:gd name="connsiteY6" fmla="*/ 802 h 10000"/>
              <a:gd name="connsiteX7" fmla="*/ 8571 w 10000"/>
              <a:gd name="connsiteY7" fmla="*/ 1003 h 10000"/>
              <a:gd name="connsiteX8" fmla="*/ 8770 w 10000"/>
              <a:gd name="connsiteY8" fmla="*/ 1220 h 10000"/>
              <a:gd name="connsiteX9" fmla="*/ 8948 w 10000"/>
              <a:gd name="connsiteY9" fmla="*/ 1437 h 10000"/>
              <a:gd name="connsiteX10" fmla="*/ 9107 w 10000"/>
              <a:gd name="connsiteY10" fmla="*/ 1654 h 10000"/>
              <a:gd name="connsiteX11" fmla="*/ 9266 w 10000"/>
              <a:gd name="connsiteY11" fmla="*/ 1887 h 10000"/>
              <a:gd name="connsiteX12" fmla="*/ 9405 w 10000"/>
              <a:gd name="connsiteY12" fmla="*/ 2121 h 10000"/>
              <a:gd name="connsiteX13" fmla="*/ 9524 w 10000"/>
              <a:gd name="connsiteY13" fmla="*/ 2355 h 10000"/>
              <a:gd name="connsiteX14" fmla="*/ 9643 w 10000"/>
              <a:gd name="connsiteY14" fmla="*/ 2605 h 10000"/>
              <a:gd name="connsiteX15" fmla="*/ 9742 w 10000"/>
              <a:gd name="connsiteY15" fmla="*/ 2856 h 10000"/>
              <a:gd name="connsiteX16" fmla="*/ 9821 w 10000"/>
              <a:gd name="connsiteY16" fmla="*/ 3106 h 10000"/>
              <a:gd name="connsiteX17" fmla="*/ 9881 w 10000"/>
              <a:gd name="connsiteY17" fmla="*/ 3357 h 10000"/>
              <a:gd name="connsiteX18" fmla="*/ 9940 w 10000"/>
              <a:gd name="connsiteY18" fmla="*/ 3606 h 10000"/>
              <a:gd name="connsiteX19" fmla="*/ 9980 w 10000"/>
              <a:gd name="connsiteY19" fmla="*/ 3874 h 10000"/>
              <a:gd name="connsiteX20" fmla="*/ 10000 w 10000"/>
              <a:gd name="connsiteY20" fmla="*/ 4141 h 10000"/>
              <a:gd name="connsiteX21" fmla="*/ 10000 w 10000"/>
              <a:gd name="connsiteY21" fmla="*/ 4392 h 10000"/>
              <a:gd name="connsiteX22" fmla="*/ 10000 w 10000"/>
              <a:gd name="connsiteY22" fmla="*/ 4658 h 10000"/>
              <a:gd name="connsiteX23" fmla="*/ 9980 w 10000"/>
              <a:gd name="connsiteY23" fmla="*/ 4926 h 10000"/>
              <a:gd name="connsiteX24" fmla="*/ 9940 w 10000"/>
              <a:gd name="connsiteY24" fmla="*/ 5193 h 10000"/>
              <a:gd name="connsiteX25" fmla="*/ 9901 w 10000"/>
              <a:gd name="connsiteY25" fmla="*/ 5459 h 10000"/>
              <a:gd name="connsiteX26" fmla="*/ 9841 w 10000"/>
              <a:gd name="connsiteY26" fmla="*/ 5710 h 10000"/>
              <a:gd name="connsiteX27" fmla="*/ 9762 w 10000"/>
              <a:gd name="connsiteY27" fmla="*/ 5977 h 10000"/>
              <a:gd name="connsiteX28" fmla="*/ 9663 w 10000"/>
              <a:gd name="connsiteY28" fmla="*/ 6227 h 10000"/>
              <a:gd name="connsiteX29" fmla="*/ 9544 w 10000"/>
              <a:gd name="connsiteY29" fmla="*/ 6494 h 10000"/>
              <a:gd name="connsiteX30" fmla="*/ 9425 w 10000"/>
              <a:gd name="connsiteY30" fmla="*/ 6745 h 10000"/>
              <a:gd name="connsiteX31" fmla="*/ 9286 w 10000"/>
              <a:gd name="connsiteY31" fmla="*/ 6995 h 10000"/>
              <a:gd name="connsiteX32" fmla="*/ 9127 w 10000"/>
              <a:gd name="connsiteY32" fmla="*/ 7229 h 10000"/>
              <a:gd name="connsiteX33" fmla="*/ 8948 w 10000"/>
              <a:gd name="connsiteY33" fmla="*/ 7480 h 10000"/>
              <a:gd name="connsiteX34" fmla="*/ 8948 w 10000"/>
              <a:gd name="connsiteY34" fmla="*/ 7480 h 10000"/>
              <a:gd name="connsiteX35" fmla="*/ 8770 w 10000"/>
              <a:gd name="connsiteY35" fmla="*/ 7713 h 10000"/>
              <a:gd name="connsiteX36" fmla="*/ 8571 w 10000"/>
              <a:gd name="connsiteY36" fmla="*/ 7931 h 10000"/>
              <a:gd name="connsiteX37" fmla="*/ 8353 w 10000"/>
              <a:gd name="connsiteY37" fmla="*/ 8147 h 10000"/>
              <a:gd name="connsiteX38" fmla="*/ 8135 w 10000"/>
              <a:gd name="connsiteY38" fmla="*/ 8347 h 10000"/>
              <a:gd name="connsiteX39" fmla="*/ 7917 w 10000"/>
              <a:gd name="connsiteY39" fmla="*/ 8531 h 10000"/>
              <a:gd name="connsiteX40" fmla="*/ 7679 w 10000"/>
              <a:gd name="connsiteY40" fmla="*/ 8715 h 10000"/>
              <a:gd name="connsiteX41" fmla="*/ 7421 w 10000"/>
              <a:gd name="connsiteY41" fmla="*/ 8882 h 10000"/>
              <a:gd name="connsiteX42" fmla="*/ 7163 w 10000"/>
              <a:gd name="connsiteY42" fmla="*/ 9032 h 10000"/>
              <a:gd name="connsiteX43" fmla="*/ 6905 w 10000"/>
              <a:gd name="connsiteY43" fmla="*/ 9182 h 10000"/>
              <a:gd name="connsiteX44" fmla="*/ 6627 w 10000"/>
              <a:gd name="connsiteY44" fmla="*/ 9316 h 10000"/>
              <a:gd name="connsiteX45" fmla="*/ 6349 w 10000"/>
              <a:gd name="connsiteY45" fmla="*/ 9432 h 10000"/>
              <a:gd name="connsiteX46" fmla="*/ 6071 w 10000"/>
              <a:gd name="connsiteY46" fmla="*/ 9549 h 10000"/>
              <a:gd name="connsiteX47" fmla="*/ 5774 w 10000"/>
              <a:gd name="connsiteY47" fmla="*/ 9650 h 10000"/>
              <a:gd name="connsiteX48" fmla="*/ 5496 w 10000"/>
              <a:gd name="connsiteY48" fmla="*/ 9733 h 10000"/>
              <a:gd name="connsiteX49" fmla="*/ 5198 w 10000"/>
              <a:gd name="connsiteY49" fmla="*/ 9800 h 10000"/>
              <a:gd name="connsiteX50" fmla="*/ 4881 w 10000"/>
              <a:gd name="connsiteY50" fmla="*/ 9866 h 10000"/>
              <a:gd name="connsiteX51" fmla="*/ 4583 w 10000"/>
              <a:gd name="connsiteY51" fmla="*/ 9916 h 10000"/>
              <a:gd name="connsiteX52" fmla="*/ 4266 w 10000"/>
              <a:gd name="connsiteY52" fmla="*/ 9950 h 10000"/>
              <a:gd name="connsiteX53" fmla="*/ 3968 w 10000"/>
              <a:gd name="connsiteY53" fmla="*/ 9983 h 10000"/>
              <a:gd name="connsiteX54" fmla="*/ 3651 w 10000"/>
              <a:gd name="connsiteY54" fmla="*/ 10000 h 10000"/>
              <a:gd name="connsiteX55" fmla="*/ 3333 w 10000"/>
              <a:gd name="connsiteY55" fmla="*/ 10000 h 10000"/>
              <a:gd name="connsiteX56" fmla="*/ 3036 w 10000"/>
              <a:gd name="connsiteY56" fmla="*/ 9983 h 10000"/>
              <a:gd name="connsiteX57" fmla="*/ 2718 w 10000"/>
              <a:gd name="connsiteY57" fmla="*/ 9950 h 10000"/>
              <a:gd name="connsiteX58" fmla="*/ 2401 w 10000"/>
              <a:gd name="connsiteY58" fmla="*/ 9916 h 10000"/>
              <a:gd name="connsiteX59" fmla="*/ 2083 w 10000"/>
              <a:gd name="connsiteY59" fmla="*/ 9866 h 10000"/>
              <a:gd name="connsiteX60" fmla="*/ 1786 w 10000"/>
              <a:gd name="connsiteY60" fmla="*/ 9800 h 10000"/>
              <a:gd name="connsiteX61" fmla="*/ 1468 w 10000"/>
              <a:gd name="connsiteY61" fmla="*/ 9733 h 10000"/>
              <a:gd name="connsiteX62" fmla="*/ 1171 w 10000"/>
              <a:gd name="connsiteY62" fmla="*/ 9633 h 10000"/>
              <a:gd name="connsiteX63" fmla="*/ 873 w 10000"/>
              <a:gd name="connsiteY63" fmla="*/ 9533 h 10000"/>
              <a:gd name="connsiteX64" fmla="*/ 575 w 10000"/>
              <a:gd name="connsiteY64" fmla="*/ 9416 h 10000"/>
              <a:gd name="connsiteX65" fmla="*/ 278 w 10000"/>
              <a:gd name="connsiteY65" fmla="*/ 9282 h 10000"/>
              <a:gd name="connsiteX66" fmla="*/ 0 w 10000"/>
              <a:gd name="connsiteY66" fmla="*/ 9132 h 10000"/>
              <a:gd name="connsiteX0" fmla="*/ 0 w 10000"/>
              <a:gd name="connsiteY0" fmla="*/ 9132 h 10000"/>
              <a:gd name="connsiteX1" fmla="*/ 7221 w 10000"/>
              <a:gd name="connsiteY1" fmla="*/ 0 h 10000"/>
              <a:gd name="connsiteX2" fmla="*/ 7401 w 10000"/>
              <a:gd name="connsiteY2" fmla="*/ 85 h 10000"/>
              <a:gd name="connsiteX3" fmla="*/ 7659 w 10000"/>
              <a:gd name="connsiteY3" fmla="*/ 252 h 10000"/>
              <a:gd name="connsiteX4" fmla="*/ 7897 w 10000"/>
              <a:gd name="connsiteY4" fmla="*/ 436 h 10000"/>
              <a:gd name="connsiteX5" fmla="*/ 8135 w 10000"/>
              <a:gd name="connsiteY5" fmla="*/ 619 h 10000"/>
              <a:gd name="connsiteX6" fmla="*/ 8353 w 10000"/>
              <a:gd name="connsiteY6" fmla="*/ 802 h 10000"/>
              <a:gd name="connsiteX7" fmla="*/ 8571 w 10000"/>
              <a:gd name="connsiteY7" fmla="*/ 1003 h 10000"/>
              <a:gd name="connsiteX8" fmla="*/ 8770 w 10000"/>
              <a:gd name="connsiteY8" fmla="*/ 1220 h 10000"/>
              <a:gd name="connsiteX9" fmla="*/ 8948 w 10000"/>
              <a:gd name="connsiteY9" fmla="*/ 1437 h 10000"/>
              <a:gd name="connsiteX10" fmla="*/ 9107 w 10000"/>
              <a:gd name="connsiteY10" fmla="*/ 1654 h 10000"/>
              <a:gd name="connsiteX11" fmla="*/ 9266 w 10000"/>
              <a:gd name="connsiteY11" fmla="*/ 1887 h 10000"/>
              <a:gd name="connsiteX12" fmla="*/ 9405 w 10000"/>
              <a:gd name="connsiteY12" fmla="*/ 2121 h 10000"/>
              <a:gd name="connsiteX13" fmla="*/ 9524 w 10000"/>
              <a:gd name="connsiteY13" fmla="*/ 2355 h 10000"/>
              <a:gd name="connsiteX14" fmla="*/ 9643 w 10000"/>
              <a:gd name="connsiteY14" fmla="*/ 2605 h 10000"/>
              <a:gd name="connsiteX15" fmla="*/ 9742 w 10000"/>
              <a:gd name="connsiteY15" fmla="*/ 2856 h 10000"/>
              <a:gd name="connsiteX16" fmla="*/ 9821 w 10000"/>
              <a:gd name="connsiteY16" fmla="*/ 3106 h 10000"/>
              <a:gd name="connsiteX17" fmla="*/ 9881 w 10000"/>
              <a:gd name="connsiteY17" fmla="*/ 3357 h 10000"/>
              <a:gd name="connsiteX18" fmla="*/ 9940 w 10000"/>
              <a:gd name="connsiteY18" fmla="*/ 3606 h 10000"/>
              <a:gd name="connsiteX19" fmla="*/ 9980 w 10000"/>
              <a:gd name="connsiteY19" fmla="*/ 3874 h 10000"/>
              <a:gd name="connsiteX20" fmla="*/ 10000 w 10000"/>
              <a:gd name="connsiteY20" fmla="*/ 4141 h 10000"/>
              <a:gd name="connsiteX21" fmla="*/ 10000 w 10000"/>
              <a:gd name="connsiteY21" fmla="*/ 4392 h 10000"/>
              <a:gd name="connsiteX22" fmla="*/ 10000 w 10000"/>
              <a:gd name="connsiteY22" fmla="*/ 4658 h 10000"/>
              <a:gd name="connsiteX23" fmla="*/ 9980 w 10000"/>
              <a:gd name="connsiteY23" fmla="*/ 4926 h 10000"/>
              <a:gd name="connsiteX24" fmla="*/ 9940 w 10000"/>
              <a:gd name="connsiteY24" fmla="*/ 5193 h 10000"/>
              <a:gd name="connsiteX25" fmla="*/ 9901 w 10000"/>
              <a:gd name="connsiteY25" fmla="*/ 5459 h 10000"/>
              <a:gd name="connsiteX26" fmla="*/ 9841 w 10000"/>
              <a:gd name="connsiteY26" fmla="*/ 5710 h 10000"/>
              <a:gd name="connsiteX27" fmla="*/ 9762 w 10000"/>
              <a:gd name="connsiteY27" fmla="*/ 5977 h 10000"/>
              <a:gd name="connsiteX28" fmla="*/ 9663 w 10000"/>
              <a:gd name="connsiteY28" fmla="*/ 6227 h 10000"/>
              <a:gd name="connsiteX29" fmla="*/ 9544 w 10000"/>
              <a:gd name="connsiteY29" fmla="*/ 6494 h 10000"/>
              <a:gd name="connsiteX30" fmla="*/ 9425 w 10000"/>
              <a:gd name="connsiteY30" fmla="*/ 6745 h 10000"/>
              <a:gd name="connsiteX31" fmla="*/ 9286 w 10000"/>
              <a:gd name="connsiteY31" fmla="*/ 6995 h 10000"/>
              <a:gd name="connsiteX32" fmla="*/ 9127 w 10000"/>
              <a:gd name="connsiteY32" fmla="*/ 7229 h 10000"/>
              <a:gd name="connsiteX33" fmla="*/ 8948 w 10000"/>
              <a:gd name="connsiteY33" fmla="*/ 7480 h 10000"/>
              <a:gd name="connsiteX34" fmla="*/ 8948 w 10000"/>
              <a:gd name="connsiteY34" fmla="*/ 7480 h 10000"/>
              <a:gd name="connsiteX35" fmla="*/ 8770 w 10000"/>
              <a:gd name="connsiteY35" fmla="*/ 7713 h 10000"/>
              <a:gd name="connsiteX36" fmla="*/ 8571 w 10000"/>
              <a:gd name="connsiteY36" fmla="*/ 7931 h 10000"/>
              <a:gd name="connsiteX37" fmla="*/ 8353 w 10000"/>
              <a:gd name="connsiteY37" fmla="*/ 8147 h 10000"/>
              <a:gd name="connsiteX38" fmla="*/ 8135 w 10000"/>
              <a:gd name="connsiteY38" fmla="*/ 8347 h 10000"/>
              <a:gd name="connsiteX39" fmla="*/ 7917 w 10000"/>
              <a:gd name="connsiteY39" fmla="*/ 8531 h 10000"/>
              <a:gd name="connsiteX40" fmla="*/ 7679 w 10000"/>
              <a:gd name="connsiteY40" fmla="*/ 8715 h 10000"/>
              <a:gd name="connsiteX41" fmla="*/ 7421 w 10000"/>
              <a:gd name="connsiteY41" fmla="*/ 8882 h 10000"/>
              <a:gd name="connsiteX42" fmla="*/ 7163 w 10000"/>
              <a:gd name="connsiteY42" fmla="*/ 9032 h 10000"/>
              <a:gd name="connsiteX43" fmla="*/ 6905 w 10000"/>
              <a:gd name="connsiteY43" fmla="*/ 9182 h 10000"/>
              <a:gd name="connsiteX44" fmla="*/ 6627 w 10000"/>
              <a:gd name="connsiteY44" fmla="*/ 9316 h 10000"/>
              <a:gd name="connsiteX45" fmla="*/ 6349 w 10000"/>
              <a:gd name="connsiteY45" fmla="*/ 9432 h 10000"/>
              <a:gd name="connsiteX46" fmla="*/ 6071 w 10000"/>
              <a:gd name="connsiteY46" fmla="*/ 9549 h 10000"/>
              <a:gd name="connsiteX47" fmla="*/ 5774 w 10000"/>
              <a:gd name="connsiteY47" fmla="*/ 9650 h 10000"/>
              <a:gd name="connsiteX48" fmla="*/ 5496 w 10000"/>
              <a:gd name="connsiteY48" fmla="*/ 9733 h 10000"/>
              <a:gd name="connsiteX49" fmla="*/ 5198 w 10000"/>
              <a:gd name="connsiteY49" fmla="*/ 9800 h 10000"/>
              <a:gd name="connsiteX50" fmla="*/ 4881 w 10000"/>
              <a:gd name="connsiteY50" fmla="*/ 9866 h 10000"/>
              <a:gd name="connsiteX51" fmla="*/ 4583 w 10000"/>
              <a:gd name="connsiteY51" fmla="*/ 9916 h 10000"/>
              <a:gd name="connsiteX52" fmla="*/ 4266 w 10000"/>
              <a:gd name="connsiteY52" fmla="*/ 9950 h 10000"/>
              <a:gd name="connsiteX53" fmla="*/ 3968 w 10000"/>
              <a:gd name="connsiteY53" fmla="*/ 9983 h 10000"/>
              <a:gd name="connsiteX54" fmla="*/ 3651 w 10000"/>
              <a:gd name="connsiteY54" fmla="*/ 10000 h 10000"/>
              <a:gd name="connsiteX55" fmla="*/ 3333 w 10000"/>
              <a:gd name="connsiteY55" fmla="*/ 10000 h 10000"/>
              <a:gd name="connsiteX56" fmla="*/ 3036 w 10000"/>
              <a:gd name="connsiteY56" fmla="*/ 9983 h 10000"/>
              <a:gd name="connsiteX57" fmla="*/ 2718 w 10000"/>
              <a:gd name="connsiteY57" fmla="*/ 9950 h 10000"/>
              <a:gd name="connsiteX58" fmla="*/ 2401 w 10000"/>
              <a:gd name="connsiteY58" fmla="*/ 9916 h 10000"/>
              <a:gd name="connsiteX59" fmla="*/ 2083 w 10000"/>
              <a:gd name="connsiteY59" fmla="*/ 9866 h 10000"/>
              <a:gd name="connsiteX60" fmla="*/ 1786 w 10000"/>
              <a:gd name="connsiteY60" fmla="*/ 9800 h 10000"/>
              <a:gd name="connsiteX61" fmla="*/ 1468 w 10000"/>
              <a:gd name="connsiteY61" fmla="*/ 9733 h 10000"/>
              <a:gd name="connsiteX62" fmla="*/ 1171 w 10000"/>
              <a:gd name="connsiteY62" fmla="*/ 9633 h 10000"/>
              <a:gd name="connsiteX63" fmla="*/ 873 w 10000"/>
              <a:gd name="connsiteY63" fmla="*/ 9533 h 10000"/>
              <a:gd name="connsiteX64" fmla="*/ 575 w 10000"/>
              <a:gd name="connsiteY64" fmla="*/ 9416 h 10000"/>
              <a:gd name="connsiteX65" fmla="*/ 278 w 10000"/>
              <a:gd name="connsiteY65" fmla="*/ 9282 h 10000"/>
              <a:gd name="connsiteX66" fmla="*/ 0 w 10000"/>
              <a:gd name="connsiteY66" fmla="*/ 9132 h 10000"/>
              <a:gd name="connsiteX0" fmla="*/ 0 w 10000"/>
              <a:gd name="connsiteY0" fmla="*/ 9132 h 10000"/>
              <a:gd name="connsiteX1" fmla="*/ 7221 w 10000"/>
              <a:gd name="connsiteY1" fmla="*/ 0 h 10000"/>
              <a:gd name="connsiteX2" fmla="*/ 7401 w 10000"/>
              <a:gd name="connsiteY2" fmla="*/ 85 h 10000"/>
              <a:gd name="connsiteX3" fmla="*/ 7659 w 10000"/>
              <a:gd name="connsiteY3" fmla="*/ 252 h 10000"/>
              <a:gd name="connsiteX4" fmla="*/ 7897 w 10000"/>
              <a:gd name="connsiteY4" fmla="*/ 436 h 10000"/>
              <a:gd name="connsiteX5" fmla="*/ 8135 w 10000"/>
              <a:gd name="connsiteY5" fmla="*/ 619 h 10000"/>
              <a:gd name="connsiteX6" fmla="*/ 8353 w 10000"/>
              <a:gd name="connsiteY6" fmla="*/ 802 h 10000"/>
              <a:gd name="connsiteX7" fmla="*/ 8571 w 10000"/>
              <a:gd name="connsiteY7" fmla="*/ 1003 h 10000"/>
              <a:gd name="connsiteX8" fmla="*/ 8770 w 10000"/>
              <a:gd name="connsiteY8" fmla="*/ 1220 h 10000"/>
              <a:gd name="connsiteX9" fmla="*/ 8948 w 10000"/>
              <a:gd name="connsiteY9" fmla="*/ 1437 h 10000"/>
              <a:gd name="connsiteX10" fmla="*/ 9107 w 10000"/>
              <a:gd name="connsiteY10" fmla="*/ 1654 h 10000"/>
              <a:gd name="connsiteX11" fmla="*/ 9266 w 10000"/>
              <a:gd name="connsiteY11" fmla="*/ 1887 h 10000"/>
              <a:gd name="connsiteX12" fmla="*/ 9405 w 10000"/>
              <a:gd name="connsiteY12" fmla="*/ 2121 h 10000"/>
              <a:gd name="connsiteX13" fmla="*/ 9524 w 10000"/>
              <a:gd name="connsiteY13" fmla="*/ 2355 h 10000"/>
              <a:gd name="connsiteX14" fmla="*/ 9643 w 10000"/>
              <a:gd name="connsiteY14" fmla="*/ 2605 h 10000"/>
              <a:gd name="connsiteX15" fmla="*/ 9742 w 10000"/>
              <a:gd name="connsiteY15" fmla="*/ 2856 h 10000"/>
              <a:gd name="connsiteX16" fmla="*/ 9821 w 10000"/>
              <a:gd name="connsiteY16" fmla="*/ 3106 h 10000"/>
              <a:gd name="connsiteX17" fmla="*/ 9881 w 10000"/>
              <a:gd name="connsiteY17" fmla="*/ 3357 h 10000"/>
              <a:gd name="connsiteX18" fmla="*/ 9940 w 10000"/>
              <a:gd name="connsiteY18" fmla="*/ 3606 h 10000"/>
              <a:gd name="connsiteX19" fmla="*/ 9980 w 10000"/>
              <a:gd name="connsiteY19" fmla="*/ 3874 h 10000"/>
              <a:gd name="connsiteX20" fmla="*/ 10000 w 10000"/>
              <a:gd name="connsiteY20" fmla="*/ 4141 h 10000"/>
              <a:gd name="connsiteX21" fmla="*/ 10000 w 10000"/>
              <a:gd name="connsiteY21" fmla="*/ 4392 h 10000"/>
              <a:gd name="connsiteX22" fmla="*/ 10000 w 10000"/>
              <a:gd name="connsiteY22" fmla="*/ 4658 h 10000"/>
              <a:gd name="connsiteX23" fmla="*/ 9980 w 10000"/>
              <a:gd name="connsiteY23" fmla="*/ 4926 h 10000"/>
              <a:gd name="connsiteX24" fmla="*/ 9940 w 10000"/>
              <a:gd name="connsiteY24" fmla="*/ 5193 h 10000"/>
              <a:gd name="connsiteX25" fmla="*/ 9901 w 10000"/>
              <a:gd name="connsiteY25" fmla="*/ 5459 h 10000"/>
              <a:gd name="connsiteX26" fmla="*/ 9841 w 10000"/>
              <a:gd name="connsiteY26" fmla="*/ 5710 h 10000"/>
              <a:gd name="connsiteX27" fmla="*/ 9762 w 10000"/>
              <a:gd name="connsiteY27" fmla="*/ 5977 h 10000"/>
              <a:gd name="connsiteX28" fmla="*/ 9663 w 10000"/>
              <a:gd name="connsiteY28" fmla="*/ 6227 h 10000"/>
              <a:gd name="connsiteX29" fmla="*/ 9544 w 10000"/>
              <a:gd name="connsiteY29" fmla="*/ 6494 h 10000"/>
              <a:gd name="connsiteX30" fmla="*/ 9425 w 10000"/>
              <a:gd name="connsiteY30" fmla="*/ 6745 h 10000"/>
              <a:gd name="connsiteX31" fmla="*/ 9286 w 10000"/>
              <a:gd name="connsiteY31" fmla="*/ 6995 h 10000"/>
              <a:gd name="connsiteX32" fmla="*/ 9127 w 10000"/>
              <a:gd name="connsiteY32" fmla="*/ 7229 h 10000"/>
              <a:gd name="connsiteX33" fmla="*/ 8948 w 10000"/>
              <a:gd name="connsiteY33" fmla="*/ 7480 h 10000"/>
              <a:gd name="connsiteX34" fmla="*/ 8948 w 10000"/>
              <a:gd name="connsiteY34" fmla="*/ 7480 h 10000"/>
              <a:gd name="connsiteX35" fmla="*/ 8770 w 10000"/>
              <a:gd name="connsiteY35" fmla="*/ 7713 h 10000"/>
              <a:gd name="connsiteX36" fmla="*/ 8571 w 10000"/>
              <a:gd name="connsiteY36" fmla="*/ 7931 h 10000"/>
              <a:gd name="connsiteX37" fmla="*/ 8353 w 10000"/>
              <a:gd name="connsiteY37" fmla="*/ 8147 h 10000"/>
              <a:gd name="connsiteX38" fmla="*/ 8135 w 10000"/>
              <a:gd name="connsiteY38" fmla="*/ 8347 h 10000"/>
              <a:gd name="connsiteX39" fmla="*/ 7917 w 10000"/>
              <a:gd name="connsiteY39" fmla="*/ 8531 h 10000"/>
              <a:gd name="connsiteX40" fmla="*/ 7679 w 10000"/>
              <a:gd name="connsiteY40" fmla="*/ 8715 h 10000"/>
              <a:gd name="connsiteX41" fmla="*/ 7421 w 10000"/>
              <a:gd name="connsiteY41" fmla="*/ 8882 h 10000"/>
              <a:gd name="connsiteX42" fmla="*/ 7163 w 10000"/>
              <a:gd name="connsiteY42" fmla="*/ 9032 h 10000"/>
              <a:gd name="connsiteX43" fmla="*/ 6905 w 10000"/>
              <a:gd name="connsiteY43" fmla="*/ 9182 h 10000"/>
              <a:gd name="connsiteX44" fmla="*/ 6627 w 10000"/>
              <a:gd name="connsiteY44" fmla="*/ 9316 h 10000"/>
              <a:gd name="connsiteX45" fmla="*/ 6349 w 10000"/>
              <a:gd name="connsiteY45" fmla="*/ 9432 h 10000"/>
              <a:gd name="connsiteX46" fmla="*/ 6071 w 10000"/>
              <a:gd name="connsiteY46" fmla="*/ 9549 h 10000"/>
              <a:gd name="connsiteX47" fmla="*/ 5774 w 10000"/>
              <a:gd name="connsiteY47" fmla="*/ 9650 h 10000"/>
              <a:gd name="connsiteX48" fmla="*/ 5496 w 10000"/>
              <a:gd name="connsiteY48" fmla="*/ 9733 h 10000"/>
              <a:gd name="connsiteX49" fmla="*/ 5198 w 10000"/>
              <a:gd name="connsiteY49" fmla="*/ 9800 h 10000"/>
              <a:gd name="connsiteX50" fmla="*/ 4881 w 10000"/>
              <a:gd name="connsiteY50" fmla="*/ 9866 h 10000"/>
              <a:gd name="connsiteX51" fmla="*/ 4583 w 10000"/>
              <a:gd name="connsiteY51" fmla="*/ 9916 h 10000"/>
              <a:gd name="connsiteX52" fmla="*/ 4266 w 10000"/>
              <a:gd name="connsiteY52" fmla="*/ 9950 h 10000"/>
              <a:gd name="connsiteX53" fmla="*/ 3968 w 10000"/>
              <a:gd name="connsiteY53" fmla="*/ 9983 h 10000"/>
              <a:gd name="connsiteX54" fmla="*/ 3651 w 10000"/>
              <a:gd name="connsiteY54" fmla="*/ 10000 h 10000"/>
              <a:gd name="connsiteX55" fmla="*/ 3333 w 10000"/>
              <a:gd name="connsiteY55" fmla="*/ 10000 h 10000"/>
              <a:gd name="connsiteX56" fmla="*/ 3036 w 10000"/>
              <a:gd name="connsiteY56" fmla="*/ 9983 h 10000"/>
              <a:gd name="connsiteX57" fmla="*/ 2718 w 10000"/>
              <a:gd name="connsiteY57" fmla="*/ 9950 h 10000"/>
              <a:gd name="connsiteX58" fmla="*/ 2401 w 10000"/>
              <a:gd name="connsiteY58" fmla="*/ 9916 h 10000"/>
              <a:gd name="connsiteX59" fmla="*/ 2083 w 10000"/>
              <a:gd name="connsiteY59" fmla="*/ 9866 h 10000"/>
              <a:gd name="connsiteX60" fmla="*/ 1786 w 10000"/>
              <a:gd name="connsiteY60" fmla="*/ 9800 h 10000"/>
              <a:gd name="connsiteX61" fmla="*/ 1468 w 10000"/>
              <a:gd name="connsiteY61" fmla="*/ 9733 h 10000"/>
              <a:gd name="connsiteX62" fmla="*/ 1171 w 10000"/>
              <a:gd name="connsiteY62" fmla="*/ 9633 h 10000"/>
              <a:gd name="connsiteX63" fmla="*/ 873 w 10000"/>
              <a:gd name="connsiteY63" fmla="*/ 9533 h 10000"/>
              <a:gd name="connsiteX64" fmla="*/ 575 w 10000"/>
              <a:gd name="connsiteY64" fmla="*/ 9416 h 10000"/>
              <a:gd name="connsiteX65" fmla="*/ 278 w 10000"/>
              <a:gd name="connsiteY65" fmla="*/ 9282 h 10000"/>
              <a:gd name="connsiteX66" fmla="*/ 0 w 10000"/>
              <a:gd name="connsiteY66" fmla="*/ 9132 h 10000"/>
              <a:gd name="connsiteX0" fmla="*/ 0 w 10000"/>
              <a:gd name="connsiteY0" fmla="*/ 9132 h 10000"/>
              <a:gd name="connsiteX1" fmla="*/ 7221 w 10000"/>
              <a:gd name="connsiteY1" fmla="*/ 0 h 10000"/>
              <a:gd name="connsiteX2" fmla="*/ 7401 w 10000"/>
              <a:gd name="connsiteY2" fmla="*/ 85 h 10000"/>
              <a:gd name="connsiteX3" fmla="*/ 7659 w 10000"/>
              <a:gd name="connsiteY3" fmla="*/ 252 h 10000"/>
              <a:gd name="connsiteX4" fmla="*/ 7897 w 10000"/>
              <a:gd name="connsiteY4" fmla="*/ 436 h 10000"/>
              <a:gd name="connsiteX5" fmla="*/ 8135 w 10000"/>
              <a:gd name="connsiteY5" fmla="*/ 619 h 10000"/>
              <a:gd name="connsiteX6" fmla="*/ 8353 w 10000"/>
              <a:gd name="connsiteY6" fmla="*/ 802 h 10000"/>
              <a:gd name="connsiteX7" fmla="*/ 8571 w 10000"/>
              <a:gd name="connsiteY7" fmla="*/ 1003 h 10000"/>
              <a:gd name="connsiteX8" fmla="*/ 8770 w 10000"/>
              <a:gd name="connsiteY8" fmla="*/ 1220 h 10000"/>
              <a:gd name="connsiteX9" fmla="*/ 8948 w 10000"/>
              <a:gd name="connsiteY9" fmla="*/ 1437 h 10000"/>
              <a:gd name="connsiteX10" fmla="*/ 9107 w 10000"/>
              <a:gd name="connsiteY10" fmla="*/ 1654 h 10000"/>
              <a:gd name="connsiteX11" fmla="*/ 9266 w 10000"/>
              <a:gd name="connsiteY11" fmla="*/ 1887 h 10000"/>
              <a:gd name="connsiteX12" fmla="*/ 9405 w 10000"/>
              <a:gd name="connsiteY12" fmla="*/ 2121 h 10000"/>
              <a:gd name="connsiteX13" fmla="*/ 9524 w 10000"/>
              <a:gd name="connsiteY13" fmla="*/ 2355 h 10000"/>
              <a:gd name="connsiteX14" fmla="*/ 9643 w 10000"/>
              <a:gd name="connsiteY14" fmla="*/ 2605 h 10000"/>
              <a:gd name="connsiteX15" fmla="*/ 9742 w 10000"/>
              <a:gd name="connsiteY15" fmla="*/ 2856 h 10000"/>
              <a:gd name="connsiteX16" fmla="*/ 9821 w 10000"/>
              <a:gd name="connsiteY16" fmla="*/ 3106 h 10000"/>
              <a:gd name="connsiteX17" fmla="*/ 9881 w 10000"/>
              <a:gd name="connsiteY17" fmla="*/ 3357 h 10000"/>
              <a:gd name="connsiteX18" fmla="*/ 9940 w 10000"/>
              <a:gd name="connsiteY18" fmla="*/ 3606 h 10000"/>
              <a:gd name="connsiteX19" fmla="*/ 9980 w 10000"/>
              <a:gd name="connsiteY19" fmla="*/ 3874 h 10000"/>
              <a:gd name="connsiteX20" fmla="*/ 10000 w 10000"/>
              <a:gd name="connsiteY20" fmla="*/ 4141 h 10000"/>
              <a:gd name="connsiteX21" fmla="*/ 10000 w 10000"/>
              <a:gd name="connsiteY21" fmla="*/ 4392 h 10000"/>
              <a:gd name="connsiteX22" fmla="*/ 10000 w 10000"/>
              <a:gd name="connsiteY22" fmla="*/ 4658 h 10000"/>
              <a:gd name="connsiteX23" fmla="*/ 9980 w 10000"/>
              <a:gd name="connsiteY23" fmla="*/ 4926 h 10000"/>
              <a:gd name="connsiteX24" fmla="*/ 9940 w 10000"/>
              <a:gd name="connsiteY24" fmla="*/ 5193 h 10000"/>
              <a:gd name="connsiteX25" fmla="*/ 9901 w 10000"/>
              <a:gd name="connsiteY25" fmla="*/ 5459 h 10000"/>
              <a:gd name="connsiteX26" fmla="*/ 9841 w 10000"/>
              <a:gd name="connsiteY26" fmla="*/ 5710 h 10000"/>
              <a:gd name="connsiteX27" fmla="*/ 9762 w 10000"/>
              <a:gd name="connsiteY27" fmla="*/ 5977 h 10000"/>
              <a:gd name="connsiteX28" fmla="*/ 9663 w 10000"/>
              <a:gd name="connsiteY28" fmla="*/ 6227 h 10000"/>
              <a:gd name="connsiteX29" fmla="*/ 9544 w 10000"/>
              <a:gd name="connsiteY29" fmla="*/ 6494 h 10000"/>
              <a:gd name="connsiteX30" fmla="*/ 9425 w 10000"/>
              <a:gd name="connsiteY30" fmla="*/ 6745 h 10000"/>
              <a:gd name="connsiteX31" fmla="*/ 9286 w 10000"/>
              <a:gd name="connsiteY31" fmla="*/ 6995 h 10000"/>
              <a:gd name="connsiteX32" fmla="*/ 9127 w 10000"/>
              <a:gd name="connsiteY32" fmla="*/ 7229 h 10000"/>
              <a:gd name="connsiteX33" fmla="*/ 8948 w 10000"/>
              <a:gd name="connsiteY33" fmla="*/ 7480 h 10000"/>
              <a:gd name="connsiteX34" fmla="*/ 8948 w 10000"/>
              <a:gd name="connsiteY34" fmla="*/ 7480 h 10000"/>
              <a:gd name="connsiteX35" fmla="*/ 8770 w 10000"/>
              <a:gd name="connsiteY35" fmla="*/ 7713 h 10000"/>
              <a:gd name="connsiteX36" fmla="*/ 8571 w 10000"/>
              <a:gd name="connsiteY36" fmla="*/ 7931 h 10000"/>
              <a:gd name="connsiteX37" fmla="*/ 8353 w 10000"/>
              <a:gd name="connsiteY37" fmla="*/ 8147 h 10000"/>
              <a:gd name="connsiteX38" fmla="*/ 8135 w 10000"/>
              <a:gd name="connsiteY38" fmla="*/ 8347 h 10000"/>
              <a:gd name="connsiteX39" fmla="*/ 7917 w 10000"/>
              <a:gd name="connsiteY39" fmla="*/ 8531 h 10000"/>
              <a:gd name="connsiteX40" fmla="*/ 7679 w 10000"/>
              <a:gd name="connsiteY40" fmla="*/ 8715 h 10000"/>
              <a:gd name="connsiteX41" fmla="*/ 7421 w 10000"/>
              <a:gd name="connsiteY41" fmla="*/ 8882 h 10000"/>
              <a:gd name="connsiteX42" fmla="*/ 7163 w 10000"/>
              <a:gd name="connsiteY42" fmla="*/ 9032 h 10000"/>
              <a:gd name="connsiteX43" fmla="*/ 6905 w 10000"/>
              <a:gd name="connsiteY43" fmla="*/ 9182 h 10000"/>
              <a:gd name="connsiteX44" fmla="*/ 6627 w 10000"/>
              <a:gd name="connsiteY44" fmla="*/ 9316 h 10000"/>
              <a:gd name="connsiteX45" fmla="*/ 6349 w 10000"/>
              <a:gd name="connsiteY45" fmla="*/ 9432 h 10000"/>
              <a:gd name="connsiteX46" fmla="*/ 6071 w 10000"/>
              <a:gd name="connsiteY46" fmla="*/ 9549 h 10000"/>
              <a:gd name="connsiteX47" fmla="*/ 5774 w 10000"/>
              <a:gd name="connsiteY47" fmla="*/ 9650 h 10000"/>
              <a:gd name="connsiteX48" fmla="*/ 5496 w 10000"/>
              <a:gd name="connsiteY48" fmla="*/ 9733 h 10000"/>
              <a:gd name="connsiteX49" fmla="*/ 5198 w 10000"/>
              <a:gd name="connsiteY49" fmla="*/ 9800 h 10000"/>
              <a:gd name="connsiteX50" fmla="*/ 4881 w 10000"/>
              <a:gd name="connsiteY50" fmla="*/ 9866 h 10000"/>
              <a:gd name="connsiteX51" fmla="*/ 4583 w 10000"/>
              <a:gd name="connsiteY51" fmla="*/ 9916 h 10000"/>
              <a:gd name="connsiteX52" fmla="*/ 4266 w 10000"/>
              <a:gd name="connsiteY52" fmla="*/ 9950 h 10000"/>
              <a:gd name="connsiteX53" fmla="*/ 3968 w 10000"/>
              <a:gd name="connsiteY53" fmla="*/ 9983 h 10000"/>
              <a:gd name="connsiteX54" fmla="*/ 3651 w 10000"/>
              <a:gd name="connsiteY54" fmla="*/ 10000 h 10000"/>
              <a:gd name="connsiteX55" fmla="*/ 3333 w 10000"/>
              <a:gd name="connsiteY55" fmla="*/ 10000 h 10000"/>
              <a:gd name="connsiteX56" fmla="*/ 3036 w 10000"/>
              <a:gd name="connsiteY56" fmla="*/ 9983 h 10000"/>
              <a:gd name="connsiteX57" fmla="*/ 2718 w 10000"/>
              <a:gd name="connsiteY57" fmla="*/ 9950 h 10000"/>
              <a:gd name="connsiteX58" fmla="*/ 2401 w 10000"/>
              <a:gd name="connsiteY58" fmla="*/ 9916 h 10000"/>
              <a:gd name="connsiteX59" fmla="*/ 2083 w 10000"/>
              <a:gd name="connsiteY59" fmla="*/ 9866 h 10000"/>
              <a:gd name="connsiteX60" fmla="*/ 1786 w 10000"/>
              <a:gd name="connsiteY60" fmla="*/ 9800 h 10000"/>
              <a:gd name="connsiteX61" fmla="*/ 1468 w 10000"/>
              <a:gd name="connsiteY61" fmla="*/ 9733 h 10000"/>
              <a:gd name="connsiteX62" fmla="*/ 1171 w 10000"/>
              <a:gd name="connsiteY62" fmla="*/ 9633 h 10000"/>
              <a:gd name="connsiteX63" fmla="*/ 873 w 10000"/>
              <a:gd name="connsiteY63" fmla="*/ 9533 h 10000"/>
              <a:gd name="connsiteX64" fmla="*/ 575 w 10000"/>
              <a:gd name="connsiteY64" fmla="*/ 9416 h 10000"/>
              <a:gd name="connsiteX65" fmla="*/ 278 w 10000"/>
              <a:gd name="connsiteY65" fmla="*/ 9282 h 10000"/>
              <a:gd name="connsiteX66" fmla="*/ 0 w 10000"/>
              <a:gd name="connsiteY66" fmla="*/ 9132 h 10000"/>
              <a:gd name="connsiteX0" fmla="*/ 0 w 10000"/>
              <a:gd name="connsiteY0" fmla="*/ 9132 h 10000"/>
              <a:gd name="connsiteX1" fmla="*/ 7221 w 10000"/>
              <a:gd name="connsiteY1" fmla="*/ 0 h 10000"/>
              <a:gd name="connsiteX2" fmla="*/ 7401 w 10000"/>
              <a:gd name="connsiteY2" fmla="*/ 85 h 10000"/>
              <a:gd name="connsiteX3" fmla="*/ 7659 w 10000"/>
              <a:gd name="connsiteY3" fmla="*/ 252 h 10000"/>
              <a:gd name="connsiteX4" fmla="*/ 7897 w 10000"/>
              <a:gd name="connsiteY4" fmla="*/ 436 h 10000"/>
              <a:gd name="connsiteX5" fmla="*/ 8135 w 10000"/>
              <a:gd name="connsiteY5" fmla="*/ 619 h 10000"/>
              <a:gd name="connsiteX6" fmla="*/ 8353 w 10000"/>
              <a:gd name="connsiteY6" fmla="*/ 802 h 10000"/>
              <a:gd name="connsiteX7" fmla="*/ 8571 w 10000"/>
              <a:gd name="connsiteY7" fmla="*/ 1003 h 10000"/>
              <a:gd name="connsiteX8" fmla="*/ 8770 w 10000"/>
              <a:gd name="connsiteY8" fmla="*/ 1220 h 10000"/>
              <a:gd name="connsiteX9" fmla="*/ 8948 w 10000"/>
              <a:gd name="connsiteY9" fmla="*/ 1437 h 10000"/>
              <a:gd name="connsiteX10" fmla="*/ 9107 w 10000"/>
              <a:gd name="connsiteY10" fmla="*/ 1654 h 10000"/>
              <a:gd name="connsiteX11" fmla="*/ 9266 w 10000"/>
              <a:gd name="connsiteY11" fmla="*/ 1887 h 10000"/>
              <a:gd name="connsiteX12" fmla="*/ 9405 w 10000"/>
              <a:gd name="connsiteY12" fmla="*/ 2121 h 10000"/>
              <a:gd name="connsiteX13" fmla="*/ 9524 w 10000"/>
              <a:gd name="connsiteY13" fmla="*/ 2355 h 10000"/>
              <a:gd name="connsiteX14" fmla="*/ 9643 w 10000"/>
              <a:gd name="connsiteY14" fmla="*/ 2605 h 10000"/>
              <a:gd name="connsiteX15" fmla="*/ 9742 w 10000"/>
              <a:gd name="connsiteY15" fmla="*/ 2856 h 10000"/>
              <a:gd name="connsiteX16" fmla="*/ 9821 w 10000"/>
              <a:gd name="connsiteY16" fmla="*/ 3106 h 10000"/>
              <a:gd name="connsiteX17" fmla="*/ 9881 w 10000"/>
              <a:gd name="connsiteY17" fmla="*/ 3357 h 10000"/>
              <a:gd name="connsiteX18" fmla="*/ 9940 w 10000"/>
              <a:gd name="connsiteY18" fmla="*/ 3606 h 10000"/>
              <a:gd name="connsiteX19" fmla="*/ 9980 w 10000"/>
              <a:gd name="connsiteY19" fmla="*/ 3874 h 10000"/>
              <a:gd name="connsiteX20" fmla="*/ 10000 w 10000"/>
              <a:gd name="connsiteY20" fmla="*/ 4141 h 10000"/>
              <a:gd name="connsiteX21" fmla="*/ 10000 w 10000"/>
              <a:gd name="connsiteY21" fmla="*/ 4392 h 10000"/>
              <a:gd name="connsiteX22" fmla="*/ 10000 w 10000"/>
              <a:gd name="connsiteY22" fmla="*/ 4658 h 10000"/>
              <a:gd name="connsiteX23" fmla="*/ 9980 w 10000"/>
              <a:gd name="connsiteY23" fmla="*/ 4926 h 10000"/>
              <a:gd name="connsiteX24" fmla="*/ 9940 w 10000"/>
              <a:gd name="connsiteY24" fmla="*/ 5193 h 10000"/>
              <a:gd name="connsiteX25" fmla="*/ 9901 w 10000"/>
              <a:gd name="connsiteY25" fmla="*/ 5459 h 10000"/>
              <a:gd name="connsiteX26" fmla="*/ 9841 w 10000"/>
              <a:gd name="connsiteY26" fmla="*/ 5710 h 10000"/>
              <a:gd name="connsiteX27" fmla="*/ 9762 w 10000"/>
              <a:gd name="connsiteY27" fmla="*/ 5977 h 10000"/>
              <a:gd name="connsiteX28" fmla="*/ 9663 w 10000"/>
              <a:gd name="connsiteY28" fmla="*/ 6227 h 10000"/>
              <a:gd name="connsiteX29" fmla="*/ 9544 w 10000"/>
              <a:gd name="connsiteY29" fmla="*/ 6494 h 10000"/>
              <a:gd name="connsiteX30" fmla="*/ 9425 w 10000"/>
              <a:gd name="connsiteY30" fmla="*/ 6745 h 10000"/>
              <a:gd name="connsiteX31" fmla="*/ 9286 w 10000"/>
              <a:gd name="connsiteY31" fmla="*/ 6995 h 10000"/>
              <a:gd name="connsiteX32" fmla="*/ 9127 w 10000"/>
              <a:gd name="connsiteY32" fmla="*/ 7229 h 10000"/>
              <a:gd name="connsiteX33" fmla="*/ 8948 w 10000"/>
              <a:gd name="connsiteY33" fmla="*/ 7480 h 10000"/>
              <a:gd name="connsiteX34" fmla="*/ 8948 w 10000"/>
              <a:gd name="connsiteY34" fmla="*/ 7480 h 10000"/>
              <a:gd name="connsiteX35" fmla="*/ 8770 w 10000"/>
              <a:gd name="connsiteY35" fmla="*/ 7713 h 10000"/>
              <a:gd name="connsiteX36" fmla="*/ 8571 w 10000"/>
              <a:gd name="connsiteY36" fmla="*/ 7931 h 10000"/>
              <a:gd name="connsiteX37" fmla="*/ 8353 w 10000"/>
              <a:gd name="connsiteY37" fmla="*/ 8147 h 10000"/>
              <a:gd name="connsiteX38" fmla="*/ 8135 w 10000"/>
              <a:gd name="connsiteY38" fmla="*/ 8347 h 10000"/>
              <a:gd name="connsiteX39" fmla="*/ 7917 w 10000"/>
              <a:gd name="connsiteY39" fmla="*/ 8531 h 10000"/>
              <a:gd name="connsiteX40" fmla="*/ 7679 w 10000"/>
              <a:gd name="connsiteY40" fmla="*/ 8715 h 10000"/>
              <a:gd name="connsiteX41" fmla="*/ 7421 w 10000"/>
              <a:gd name="connsiteY41" fmla="*/ 8882 h 10000"/>
              <a:gd name="connsiteX42" fmla="*/ 7163 w 10000"/>
              <a:gd name="connsiteY42" fmla="*/ 9032 h 10000"/>
              <a:gd name="connsiteX43" fmla="*/ 6905 w 10000"/>
              <a:gd name="connsiteY43" fmla="*/ 9182 h 10000"/>
              <a:gd name="connsiteX44" fmla="*/ 6627 w 10000"/>
              <a:gd name="connsiteY44" fmla="*/ 9316 h 10000"/>
              <a:gd name="connsiteX45" fmla="*/ 6349 w 10000"/>
              <a:gd name="connsiteY45" fmla="*/ 9432 h 10000"/>
              <a:gd name="connsiteX46" fmla="*/ 6071 w 10000"/>
              <a:gd name="connsiteY46" fmla="*/ 9549 h 10000"/>
              <a:gd name="connsiteX47" fmla="*/ 5774 w 10000"/>
              <a:gd name="connsiteY47" fmla="*/ 9650 h 10000"/>
              <a:gd name="connsiteX48" fmla="*/ 5496 w 10000"/>
              <a:gd name="connsiteY48" fmla="*/ 9733 h 10000"/>
              <a:gd name="connsiteX49" fmla="*/ 5198 w 10000"/>
              <a:gd name="connsiteY49" fmla="*/ 9800 h 10000"/>
              <a:gd name="connsiteX50" fmla="*/ 4881 w 10000"/>
              <a:gd name="connsiteY50" fmla="*/ 9866 h 10000"/>
              <a:gd name="connsiteX51" fmla="*/ 4583 w 10000"/>
              <a:gd name="connsiteY51" fmla="*/ 9916 h 10000"/>
              <a:gd name="connsiteX52" fmla="*/ 4266 w 10000"/>
              <a:gd name="connsiteY52" fmla="*/ 9950 h 10000"/>
              <a:gd name="connsiteX53" fmla="*/ 3968 w 10000"/>
              <a:gd name="connsiteY53" fmla="*/ 9983 h 10000"/>
              <a:gd name="connsiteX54" fmla="*/ 3651 w 10000"/>
              <a:gd name="connsiteY54" fmla="*/ 10000 h 10000"/>
              <a:gd name="connsiteX55" fmla="*/ 3333 w 10000"/>
              <a:gd name="connsiteY55" fmla="*/ 10000 h 10000"/>
              <a:gd name="connsiteX56" fmla="*/ 3036 w 10000"/>
              <a:gd name="connsiteY56" fmla="*/ 9983 h 10000"/>
              <a:gd name="connsiteX57" fmla="*/ 2718 w 10000"/>
              <a:gd name="connsiteY57" fmla="*/ 9950 h 10000"/>
              <a:gd name="connsiteX58" fmla="*/ 2401 w 10000"/>
              <a:gd name="connsiteY58" fmla="*/ 9916 h 10000"/>
              <a:gd name="connsiteX59" fmla="*/ 2083 w 10000"/>
              <a:gd name="connsiteY59" fmla="*/ 9866 h 10000"/>
              <a:gd name="connsiteX60" fmla="*/ 1786 w 10000"/>
              <a:gd name="connsiteY60" fmla="*/ 9800 h 10000"/>
              <a:gd name="connsiteX61" fmla="*/ 1468 w 10000"/>
              <a:gd name="connsiteY61" fmla="*/ 9733 h 10000"/>
              <a:gd name="connsiteX62" fmla="*/ 1171 w 10000"/>
              <a:gd name="connsiteY62" fmla="*/ 9633 h 10000"/>
              <a:gd name="connsiteX63" fmla="*/ 873 w 10000"/>
              <a:gd name="connsiteY63" fmla="*/ 9533 h 10000"/>
              <a:gd name="connsiteX64" fmla="*/ 575 w 10000"/>
              <a:gd name="connsiteY64" fmla="*/ 9416 h 10000"/>
              <a:gd name="connsiteX65" fmla="*/ 278 w 10000"/>
              <a:gd name="connsiteY65" fmla="*/ 9282 h 10000"/>
              <a:gd name="connsiteX66" fmla="*/ 0 w 10000"/>
              <a:gd name="connsiteY66" fmla="*/ 913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10000" h="10000">
                <a:moveTo>
                  <a:pt x="0" y="9132"/>
                </a:moveTo>
                <a:cubicBezTo>
                  <a:pt x="-59" y="9118"/>
                  <a:pt x="7182" y="-52"/>
                  <a:pt x="7221" y="0"/>
                </a:cubicBezTo>
                <a:lnTo>
                  <a:pt x="7401" y="85"/>
                </a:lnTo>
                <a:lnTo>
                  <a:pt x="7659" y="252"/>
                </a:lnTo>
                <a:lnTo>
                  <a:pt x="7897" y="436"/>
                </a:lnTo>
                <a:lnTo>
                  <a:pt x="8135" y="619"/>
                </a:lnTo>
                <a:lnTo>
                  <a:pt x="8353" y="802"/>
                </a:lnTo>
                <a:lnTo>
                  <a:pt x="8571" y="1003"/>
                </a:lnTo>
                <a:lnTo>
                  <a:pt x="8770" y="1220"/>
                </a:lnTo>
                <a:lnTo>
                  <a:pt x="8948" y="1437"/>
                </a:lnTo>
                <a:lnTo>
                  <a:pt x="9107" y="1654"/>
                </a:lnTo>
                <a:lnTo>
                  <a:pt x="9266" y="1887"/>
                </a:lnTo>
                <a:cubicBezTo>
                  <a:pt x="9312" y="1965"/>
                  <a:pt x="9359" y="2043"/>
                  <a:pt x="9405" y="2121"/>
                </a:cubicBezTo>
                <a:cubicBezTo>
                  <a:pt x="9445" y="2199"/>
                  <a:pt x="9484" y="2277"/>
                  <a:pt x="9524" y="2355"/>
                </a:cubicBezTo>
                <a:cubicBezTo>
                  <a:pt x="9564" y="2438"/>
                  <a:pt x="9603" y="2522"/>
                  <a:pt x="9643" y="2605"/>
                </a:cubicBezTo>
                <a:cubicBezTo>
                  <a:pt x="9676" y="2689"/>
                  <a:pt x="9709" y="2772"/>
                  <a:pt x="9742" y="2856"/>
                </a:cubicBezTo>
                <a:cubicBezTo>
                  <a:pt x="9768" y="2939"/>
                  <a:pt x="9795" y="3023"/>
                  <a:pt x="9821" y="3106"/>
                </a:cubicBezTo>
                <a:cubicBezTo>
                  <a:pt x="9841" y="3190"/>
                  <a:pt x="9861" y="3273"/>
                  <a:pt x="9881" y="3357"/>
                </a:cubicBezTo>
                <a:cubicBezTo>
                  <a:pt x="9901" y="3440"/>
                  <a:pt x="9920" y="3523"/>
                  <a:pt x="9940" y="3606"/>
                </a:cubicBezTo>
                <a:cubicBezTo>
                  <a:pt x="9953" y="3696"/>
                  <a:pt x="9967" y="3785"/>
                  <a:pt x="9980" y="3874"/>
                </a:cubicBezTo>
                <a:cubicBezTo>
                  <a:pt x="9987" y="3963"/>
                  <a:pt x="9993" y="4052"/>
                  <a:pt x="10000" y="4141"/>
                </a:cubicBezTo>
                <a:lnTo>
                  <a:pt x="10000" y="4392"/>
                </a:lnTo>
                <a:lnTo>
                  <a:pt x="10000" y="4658"/>
                </a:lnTo>
                <a:cubicBezTo>
                  <a:pt x="9993" y="4748"/>
                  <a:pt x="9987" y="4836"/>
                  <a:pt x="9980" y="4926"/>
                </a:cubicBezTo>
                <a:cubicBezTo>
                  <a:pt x="9967" y="5015"/>
                  <a:pt x="9953" y="5104"/>
                  <a:pt x="9940" y="5193"/>
                </a:cubicBezTo>
                <a:cubicBezTo>
                  <a:pt x="9927" y="5281"/>
                  <a:pt x="9914" y="5371"/>
                  <a:pt x="9901" y="5459"/>
                </a:cubicBezTo>
                <a:cubicBezTo>
                  <a:pt x="9881" y="5543"/>
                  <a:pt x="9861" y="5626"/>
                  <a:pt x="9841" y="5710"/>
                </a:cubicBezTo>
                <a:cubicBezTo>
                  <a:pt x="9815" y="5799"/>
                  <a:pt x="9788" y="5888"/>
                  <a:pt x="9762" y="5977"/>
                </a:cubicBezTo>
                <a:cubicBezTo>
                  <a:pt x="9729" y="6060"/>
                  <a:pt x="9696" y="6144"/>
                  <a:pt x="9663" y="6227"/>
                </a:cubicBezTo>
                <a:cubicBezTo>
                  <a:pt x="9623" y="6316"/>
                  <a:pt x="9584" y="6406"/>
                  <a:pt x="9544" y="6494"/>
                </a:cubicBezTo>
                <a:lnTo>
                  <a:pt x="9425" y="6745"/>
                </a:lnTo>
                <a:lnTo>
                  <a:pt x="9286" y="6995"/>
                </a:lnTo>
                <a:lnTo>
                  <a:pt x="9127" y="7229"/>
                </a:lnTo>
                <a:lnTo>
                  <a:pt x="8948" y="7480"/>
                </a:lnTo>
                <a:lnTo>
                  <a:pt x="8948" y="7480"/>
                </a:lnTo>
                <a:cubicBezTo>
                  <a:pt x="8889" y="7558"/>
                  <a:pt x="8829" y="7635"/>
                  <a:pt x="8770" y="7713"/>
                </a:cubicBezTo>
                <a:cubicBezTo>
                  <a:pt x="8704" y="7786"/>
                  <a:pt x="8637" y="7858"/>
                  <a:pt x="8571" y="7931"/>
                </a:cubicBezTo>
                <a:lnTo>
                  <a:pt x="8353" y="8147"/>
                </a:lnTo>
                <a:lnTo>
                  <a:pt x="8135" y="8347"/>
                </a:lnTo>
                <a:lnTo>
                  <a:pt x="7917" y="8531"/>
                </a:lnTo>
                <a:lnTo>
                  <a:pt x="7679" y="8715"/>
                </a:lnTo>
                <a:lnTo>
                  <a:pt x="7421" y="8882"/>
                </a:lnTo>
                <a:lnTo>
                  <a:pt x="7163" y="9032"/>
                </a:lnTo>
                <a:lnTo>
                  <a:pt x="6905" y="9182"/>
                </a:lnTo>
                <a:lnTo>
                  <a:pt x="6627" y="9316"/>
                </a:lnTo>
                <a:lnTo>
                  <a:pt x="6349" y="9432"/>
                </a:lnTo>
                <a:lnTo>
                  <a:pt x="6071" y="9549"/>
                </a:lnTo>
                <a:lnTo>
                  <a:pt x="5774" y="9650"/>
                </a:lnTo>
                <a:lnTo>
                  <a:pt x="5496" y="9733"/>
                </a:lnTo>
                <a:lnTo>
                  <a:pt x="5198" y="9800"/>
                </a:lnTo>
                <a:lnTo>
                  <a:pt x="4881" y="9866"/>
                </a:lnTo>
                <a:lnTo>
                  <a:pt x="4583" y="9916"/>
                </a:lnTo>
                <a:lnTo>
                  <a:pt x="4266" y="9950"/>
                </a:lnTo>
                <a:lnTo>
                  <a:pt x="3968" y="9983"/>
                </a:lnTo>
                <a:lnTo>
                  <a:pt x="3651" y="10000"/>
                </a:lnTo>
                <a:lnTo>
                  <a:pt x="3333" y="10000"/>
                </a:lnTo>
                <a:lnTo>
                  <a:pt x="3036" y="9983"/>
                </a:lnTo>
                <a:lnTo>
                  <a:pt x="2718" y="9950"/>
                </a:lnTo>
                <a:lnTo>
                  <a:pt x="2401" y="9916"/>
                </a:lnTo>
                <a:lnTo>
                  <a:pt x="2083" y="9866"/>
                </a:lnTo>
                <a:lnTo>
                  <a:pt x="1786" y="9800"/>
                </a:lnTo>
                <a:lnTo>
                  <a:pt x="1468" y="9733"/>
                </a:lnTo>
                <a:lnTo>
                  <a:pt x="1171" y="9633"/>
                </a:lnTo>
                <a:lnTo>
                  <a:pt x="873" y="9533"/>
                </a:lnTo>
                <a:lnTo>
                  <a:pt x="575" y="9416"/>
                </a:lnTo>
                <a:lnTo>
                  <a:pt x="278" y="9282"/>
                </a:lnTo>
                <a:lnTo>
                  <a:pt x="0" y="9132"/>
                </a:lnTo>
                <a:close/>
              </a:path>
            </a:pathLst>
          </a:custGeom>
          <a:solidFill>
            <a:srgbClr val="BBBBBB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3802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0" i="0" u="none" strike="noStrike" kern="0" cap="none" spc="0" normalizeH="0" baseline="0" noProof="0" dirty="0">
              <a:ln>
                <a:noFill/>
              </a:ln>
              <a:solidFill>
                <a:srgbClr val="1C1C1C"/>
              </a:solidFill>
              <a:effectLst/>
              <a:uLnTx/>
              <a:uFillTx/>
            </a:endParaRPr>
          </a:p>
        </p:txBody>
      </p:sp>
      <p:sp>
        <p:nvSpPr>
          <p:cNvPr id="115" name="Footer Placeholder 10"/>
          <p:cNvSpPr txBox="1">
            <a:spLocks/>
          </p:cNvSpPr>
          <p:nvPr userDrawn="1"/>
        </p:nvSpPr>
        <p:spPr>
          <a:xfrm>
            <a:off x="5605157" y="5440070"/>
            <a:ext cx="6265412" cy="79462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24282" rtl="0" eaLnBrk="1" latinLnBrk="0" hangingPunct="1">
              <a:defRPr sz="1000" kern="1200">
                <a:solidFill>
                  <a:schemeClr val="accent4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62140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4282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6422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48564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0704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2846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4986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97126" algn="l" defTabSz="92428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C8C9C7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201</a:t>
            </a:r>
            <a:r>
              <a:rPr kumimoji="0" lang="cs-CZ" sz="1333" b="0" i="0" u="none" strike="noStrike" kern="1200" cap="none" spc="0" normalizeH="0" baseline="0" noProof="0" dirty="0">
                <a:ln>
                  <a:noFill/>
                </a:ln>
                <a:solidFill>
                  <a:srgbClr val="C8C9C7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</a:t>
            </a: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C8C9C7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psos.  All rights reserved. Contains Ipsos' Confidential and Proprietary information and may not be disclosed or reproduced without the prior written consent of Ipsos.</a:t>
            </a:r>
          </a:p>
        </p:txBody>
      </p:sp>
      <p:sp>
        <p:nvSpPr>
          <p:cNvPr id="116" name="Zástupný symbol pro obrázek 9"/>
          <p:cNvSpPr>
            <a:spLocks noGrp="1"/>
          </p:cNvSpPr>
          <p:nvPr>
            <p:ph type="pic" sz="quarter" idx="15" hasCustomPrompt="1"/>
          </p:nvPr>
        </p:nvSpPr>
        <p:spPr>
          <a:xfrm>
            <a:off x="10026914" y="1333741"/>
            <a:ext cx="1824567" cy="1217084"/>
          </a:xfr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cs-CZ" sz="2400" b="0" i="0" u="none" strike="noStrike" kern="0" cap="none" spc="0" normalizeH="0" baseline="0" noProof="0"/>
            </a:lvl1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ent</a:t>
            </a:r>
            <a:r>
              <a:rPr kumimoji="0" lang="cs-CZ" sz="2400" b="0" i="0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Logo </a:t>
            </a:r>
            <a:r>
              <a:rPr kumimoji="0" lang="cs-CZ" sz="2400" b="0" i="0" u="none" strike="noStrike" kern="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ptional</a:t>
            </a:r>
            <a:endParaRPr kumimoji="0" lang="cs-CZ" sz="2400" b="0" i="0" u="none" strike="noStrike" kern="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17" name="Picture 11" descr="IPSOS_GAMECHANGERS_blue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9440329" y="6362470"/>
            <a:ext cx="1840249" cy="369556"/>
          </a:xfrm>
          <a:prstGeom prst="rect">
            <a:avLst/>
          </a:prstGeom>
        </p:spPr>
      </p:pic>
      <p:sp>
        <p:nvSpPr>
          <p:cNvPr id="118" name="Zástupný symbol pro text 4"/>
          <p:cNvSpPr>
            <a:spLocks noGrp="1"/>
          </p:cNvSpPr>
          <p:nvPr>
            <p:ph type="body" sz="quarter" idx="16" hasCustomPrompt="1"/>
          </p:nvPr>
        </p:nvSpPr>
        <p:spPr>
          <a:xfrm>
            <a:off x="5423926" y="3284786"/>
            <a:ext cx="6047316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800" b="1" cap="all" baseline="0">
                <a:solidFill>
                  <a:srgbClr val="404040"/>
                </a:solidFill>
              </a:defRPr>
            </a:lvl1pPr>
          </a:lstStyle>
          <a:p>
            <a:pPr lvl="0"/>
            <a:r>
              <a:rPr lang="cs-CZ" dirty="0" err="1"/>
              <a:t>Presentation</a:t>
            </a:r>
            <a:r>
              <a:rPr lang="cs-CZ" dirty="0"/>
              <a:t> </a:t>
            </a:r>
            <a:r>
              <a:rPr lang="cs-CZ" dirty="0" err="1"/>
              <a:t>title</a:t>
            </a:r>
            <a:endParaRPr lang="en-US" dirty="0"/>
          </a:p>
        </p:txBody>
      </p:sp>
      <p:sp>
        <p:nvSpPr>
          <p:cNvPr id="119" name="Zástupný symbol pro text 11"/>
          <p:cNvSpPr>
            <a:spLocks noGrp="1"/>
          </p:cNvSpPr>
          <p:nvPr>
            <p:ph type="body" sz="quarter" idx="17" hasCustomPrompt="1"/>
          </p:nvPr>
        </p:nvSpPr>
        <p:spPr>
          <a:xfrm>
            <a:off x="5454973" y="4887914"/>
            <a:ext cx="1111249" cy="368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rgbClr val="404040"/>
                </a:solidFill>
              </a:defRPr>
            </a:lvl1pPr>
          </a:lstStyle>
          <a:p>
            <a:pPr lvl="0"/>
            <a:r>
              <a:rPr lang="cs-CZ" dirty="0" err="1"/>
              <a:t>Date</a:t>
            </a:r>
            <a:endParaRPr lang="en-US" dirty="0"/>
          </a:p>
        </p:txBody>
      </p:sp>
      <p:sp>
        <p:nvSpPr>
          <p:cNvPr id="120" name="Zástupný symbol pro text 4"/>
          <p:cNvSpPr>
            <a:spLocks noGrp="1"/>
          </p:cNvSpPr>
          <p:nvPr>
            <p:ph type="body" sz="quarter" idx="18" hasCustomPrompt="1"/>
          </p:nvPr>
        </p:nvSpPr>
        <p:spPr>
          <a:xfrm>
            <a:off x="5423926" y="4100877"/>
            <a:ext cx="6047316" cy="5762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4800" b="1" baseline="0">
                <a:solidFill>
                  <a:srgbClr val="404040"/>
                </a:solidFill>
              </a:defRPr>
            </a:lvl1pPr>
          </a:lstStyle>
          <a:p>
            <a:pPr lvl="0"/>
            <a:r>
              <a:rPr lang="cs-CZ" dirty="0" err="1"/>
              <a:t>Additional</a:t>
            </a:r>
            <a:r>
              <a:rPr lang="cs-CZ" dirty="0"/>
              <a:t> </a:t>
            </a:r>
            <a:r>
              <a:rPr lang="cs-CZ" dirty="0" err="1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1472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obsah - 2 radky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obsah 10"/>
          <p:cNvSpPr>
            <a:spLocks noGrp="1"/>
          </p:cNvSpPr>
          <p:nvPr>
            <p:ph sz="quarter" idx="18" hasCustomPrompt="1"/>
          </p:nvPr>
        </p:nvSpPr>
        <p:spPr>
          <a:xfrm>
            <a:off x="912333" y="1602000"/>
            <a:ext cx="10560000" cy="4780800"/>
          </a:xfrm>
        </p:spPr>
        <p:txBody>
          <a:bodyPr/>
          <a:lstStyle/>
          <a:p>
            <a:pPr lvl="0"/>
            <a:r>
              <a:rPr lang="en-US" dirty="0"/>
              <a:t>Click to edit the style of the original text</a:t>
            </a:r>
            <a:r>
              <a:rPr lang="cs-CZ" dirty="0"/>
              <a:t>.</a:t>
            </a:r>
          </a:p>
          <a:p>
            <a:pPr lvl="1"/>
            <a:r>
              <a:rPr lang="en-US" dirty="0"/>
              <a:t>second level</a:t>
            </a:r>
            <a:endParaRPr lang="cs-CZ" dirty="0"/>
          </a:p>
          <a:p>
            <a:pPr lvl="2"/>
            <a:r>
              <a:rPr lang="en-US" dirty="0"/>
              <a:t>third level</a:t>
            </a:r>
            <a:endParaRPr lang="cs-CZ" dirty="0"/>
          </a:p>
          <a:p>
            <a:pPr lvl="3"/>
            <a:r>
              <a:rPr lang="en-US" dirty="0"/>
              <a:t>fourth level </a:t>
            </a:r>
            <a:endParaRPr lang="cs-CZ" dirty="0"/>
          </a:p>
          <a:p>
            <a:pPr lvl="4"/>
            <a:r>
              <a:rPr lang="en-US" dirty="0"/>
              <a:t>fifth lev el</a:t>
            </a:r>
            <a:endParaRPr lang="cs-CZ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152001" y="1112044"/>
            <a:ext cx="10512951" cy="499875"/>
          </a:xfrm>
          <a:prstGeom prst="rect">
            <a:avLst/>
          </a:prstGeom>
        </p:spPr>
        <p:txBody>
          <a:bodyPr wrap="square" lIns="36000" tIns="0" rIns="36000" bIns="36000" anchor="t" anchorCtr="0">
            <a:spAutoFit/>
          </a:bodyPr>
          <a:lstStyle>
            <a:lvl1pPr marL="0" indent="0" defTabSz="287993">
              <a:spcBef>
                <a:spcPts val="0"/>
              </a:spcBef>
              <a:buNone/>
              <a:defRPr sz="1467" i="1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Arial" pitchFamily="34" charset="0"/>
              </a:defRPr>
            </a:lvl1pPr>
            <a:lvl2pPr marL="609585" indent="0">
              <a:buNone/>
              <a:defRPr sz="16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6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6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6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</a:t>
            </a:r>
            <a:br>
              <a:rPr lang="cs-CZ" dirty="0"/>
            </a:br>
            <a:r>
              <a:rPr lang="en-US" dirty="0"/>
              <a:t>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912002" y="6213600"/>
            <a:ext cx="10512951" cy="222283"/>
          </a:xfrm>
          <a:prstGeom prst="rect">
            <a:avLst/>
          </a:prstGeom>
        </p:spPr>
        <p:txBody>
          <a:bodyPr wrap="square" lIns="36000" tIns="0" rIns="36000" bIns="0" anchor="t" anchorCtr="0">
            <a:spAutoFit/>
          </a:bodyPr>
          <a:lstStyle>
            <a:lvl1pPr marL="0" indent="0">
              <a:lnSpc>
                <a:spcPts val="1733"/>
              </a:lnSpc>
              <a:buNone/>
              <a:defRPr sz="1467" i="1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Arial" pitchFamily="34" charset="0"/>
              </a:defRPr>
            </a:lvl1pPr>
            <a:lvl2pPr marL="609585" indent="0">
              <a:buNone/>
              <a:defRPr sz="16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6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6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6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Zástupný symbol pro číslo snímku 5"/>
          <p:cNvSpPr txBox="1">
            <a:spLocks/>
          </p:cNvSpPr>
          <p:nvPr userDrawn="1"/>
        </p:nvSpPr>
        <p:spPr>
          <a:xfrm>
            <a:off x="-12824" y="6545664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/>
              <a:pPr/>
              <a:t>‹#›</a:t>
            </a:fld>
            <a:endParaRPr lang="cs-CZ" sz="1600" dirty="0"/>
          </a:p>
        </p:txBody>
      </p:sp>
      <p:sp>
        <p:nvSpPr>
          <p:cNvPr id="14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73523" y="6570000"/>
            <a:ext cx="6826944" cy="30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733" b="1">
                <a:solidFill>
                  <a:srgbClr val="40404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cs-CZ"/>
              <a:t>© Ipsos | pro ČMSS_Měření zpětné vazby | Únor 2020</a:t>
            </a:r>
            <a:endParaRPr lang="cs-CZ" dirty="0"/>
          </a:p>
        </p:txBody>
      </p:sp>
      <p:sp>
        <p:nvSpPr>
          <p:cNvPr id="15" name="Zástupný symbol pro nadpis 1"/>
          <p:cNvSpPr>
            <a:spLocks noGrp="1"/>
          </p:cNvSpPr>
          <p:nvPr>
            <p:ph type="title"/>
          </p:nvPr>
        </p:nvSpPr>
        <p:spPr>
          <a:xfrm>
            <a:off x="282744" y="8476"/>
            <a:ext cx="11573896" cy="626296"/>
          </a:xfrm>
          <a:prstGeom prst="rect">
            <a:avLst/>
          </a:prstGeom>
        </p:spPr>
        <p:txBody>
          <a:bodyPr vert="horz" lIns="36000" tIns="45720" rIns="36000" bIns="45720" rtlCol="0" anchor="t">
            <a:normAutofit/>
          </a:bodyPr>
          <a:lstStyle/>
          <a:p>
            <a:r>
              <a:rPr lang="en-US" dirty="0"/>
              <a:t>Click to edit template headings</a:t>
            </a:r>
            <a:r>
              <a:rPr lang="cs-CZ" dirty="0"/>
              <a:t> </a:t>
            </a:r>
            <a:r>
              <a:rPr lang="en-US" dirty="0"/>
              <a:t>style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2762358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023D82B7-2F4C-44B9-86E0-CC8788B29179}"/>
              </a:ext>
            </a:extLst>
          </p:cNvPr>
          <p:cNvSpPr/>
          <p:nvPr userDrawn="1"/>
        </p:nvSpPr>
        <p:spPr>
          <a:xfrm>
            <a:off x="8016213" y="0"/>
            <a:ext cx="4175787" cy="6858000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667" dirty="0" err="1">
              <a:solidFill>
                <a:srgbClr val="003399"/>
              </a:solidFill>
              <a:latin typeface="Calibri" pitchFamily="34" charset="0"/>
            </a:endParaRPr>
          </a:p>
        </p:txBody>
      </p:sp>
      <p:sp>
        <p:nvSpPr>
          <p:cNvPr id="4" name="Zástupný symbol pro číslo snímku 5">
            <a:extLst>
              <a:ext uri="{FF2B5EF4-FFF2-40B4-BE49-F238E27FC236}">
                <a16:creationId xmlns:a16="http://schemas.microsoft.com/office/drawing/2014/main" id="{C5C84513-E08E-4F77-AC8F-7ECF29C44E2C}"/>
              </a:ext>
            </a:extLst>
          </p:cNvPr>
          <p:cNvSpPr txBox="1">
            <a:spLocks/>
          </p:cNvSpPr>
          <p:nvPr userDrawn="1"/>
        </p:nvSpPr>
        <p:spPr>
          <a:xfrm>
            <a:off x="-12824" y="6545664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/>
              <a:pPr/>
              <a:t>‹#›</a:t>
            </a:fld>
            <a:endParaRPr lang="cs-CZ" sz="1600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CE0616E-D07D-44B5-B022-13A207D514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3523" y="6570000"/>
            <a:ext cx="6826944" cy="30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733" b="1">
                <a:solidFill>
                  <a:srgbClr val="40404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cs-CZ"/>
              <a:t>© Ipsos | pro ČMSS_Měření zpětné vazby | Únor 2020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948100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5">
            <a:extLst>
              <a:ext uri="{FF2B5EF4-FFF2-40B4-BE49-F238E27FC236}">
                <a16:creationId xmlns:a16="http://schemas.microsoft.com/office/drawing/2014/main" id="{FD5E860C-4B49-49F8-BDBA-E5820723608D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Zástupný nadpis 1">
            <a:extLst>
              <a:ext uri="{FF2B5EF4-FFF2-40B4-BE49-F238E27FC236}">
                <a16:creationId xmlns:a16="http://schemas.microsoft.com/office/drawing/2014/main" id="{9D4E53DC-BE8D-443A-A135-866C3F945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4" name="Zástupný text 11">
            <a:extLst>
              <a:ext uri="{FF2B5EF4-FFF2-40B4-BE49-F238E27FC236}">
                <a16:creationId xmlns:a16="http://schemas.microsoft.com/office/drawing/2014/main" id="{EDFBAA44-48BC-1E4F-A56A-36BE848C89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5" name="Zástupný symbol pro číslo snímku 5">
            <a:extLst>
              <a:ext uri="{FF2B5EF4-FFF2-40B4-BE49-F238E27FC236}">
                <a16:creationId xmlns:a16="http://schemas.microsoft.com/office/drawing/2014/main" id="{29531A24-A888-E147-81E5-55A7FD3DC9E0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6" name="Zástupný nadpis 1">
            <a:extLst>
              <a:ext uri="{FF2B5EF4-FFF2-40B4-BE49-F238E27FC236}">
                <a16:creationId xmlns:a16="http://schemas.microsoft.com/office/drawing/2014/main" id="{8CB469FB-F8C0-EC44-A5EF-9E0C0EE8311A}"/>
              </a:ext>
            </a:extLst>
          </p:cNvPr>
          <p:cNvSpPr txBox="1">
            <a:spLocks/>
          </p:cNvSpPr>
          <p:nvPr userDrawn="1"/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/>
              <a:t>SLIDE TITLE</a:t>
            </a:r>
            <a:endParaRPr lang="cs-CZ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FA41216D-BC7A-A94A-BDE7-C04F8F0CA0C1}"/>
              </a:ext>
            </a:extLst>
          </p:cNvPr>
          <p:cNvSpPr txBox="1">
            <a:spLocks/>
          </p:cNvSpPr>
          <p:nvPr userDrawn="1"/>
        </p:nvSpPr>
        <p:spPr>
          <a:xfrm>
            <a:off x="5916000" y="20897"/>
            <a:ext cx="360000" cy="1210262"/>
          </a:xfrm>
          <a:prstGeom prst="rect">
            <a:avLst/>
          </a:prstGeom>
          <a:solidFill>
            <a:schemeClr val="tx2"/>
          </a:solidFill>
        </p:spPr>
        <p:txBody>
          <a:bodyPr vert="vert" anchor="ctr"/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800" b="1" dirty="0" err="1">
                <a:solidFill>
                  <a:schemeClr val="bg1"/>
                </a:solidFill>
              </a:rPr>
              <a:t>mezera</a:t>
            </a:r>
            <a:endParaRPr lang="en-GB" sz="1800" b="1" dirty="0">
              <a:solidFill>
                <a:schemeClr val="bg1"/>
              </a:solidFill>
            </a:endParaRPr>
          </a:p>
        </p:txBody>
      </p:sp>
      <p:grpSp>
        <p:nvGrpSpPr>
          <p:cNvPr id="10" name="Group 2">
            <a:extLst>
              <a:ext uri="{FF2B5EF4-FFF2-40B4-BE49-F238E27FC236}">
                <a16:creationId xmlns:a16="http://schemas.microsoft.com/office/drawing/2014/main" id="{2E387B15-D408-6E48-B55B-6AB001A5AD8A}"/>
              </a:ext>
            </a:extLst>
          </p:cNvPr>
          <p:cNvGrpSpPr/>
          <p:nvPr userDrawn="1"/>
        </p:nvGrpSpPr>
        <p:grpSpPr>
          <a:xfrm>
            <a:off x="105724" y="5298538"/>
            <a:ext cx="11955866" cy="720000"/>
            <a:chOff x="105724" y="4415059"/>
            <a:chExt cx="11955866" cy="720000"/>
          </a:xfrm>
        </p:grpSpPr>
        <p:sp>
          <p:nvSpPr>
            <p:cNvPr id="11" name="Text Placeholder 9">
              <a:extLst>
                <a:ext uri="{FF2B5EF4-FFF2-40B4-BE49-F238E27FC236}">
                  <a16:creationId xmlns:a16="http://schemas.microsoft.com/office/drawing/2014/main" id="{4791C493-65AB-DE49-9A6E-30F511B3C37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5724" y="4415059"/>
              <a:ext cx="1858308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Text Placeholder 9">
              <a:extLst>
                <a:ext uri="{FF2B5EF4-FFF2-40B4-BE49-F238E27FC236}">
                  <a16:creationId xmlns:a16="http://schemas.microsoft.com/office/drawing/2014/main" id="{CD974915-77DE-F348-A9AB-B54C5BC6908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0203282" y="4415059"/>
              <a:ext cx="1858308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Text Placeholder 9">
              <a:extLst>
                <a:ext uri="{FF2B5EF4-FFF2-40B4-BE49-F238E27FC236}">
                  <a16:creationId xmlns:a16="http://schemas.microsoft.com/office/drawing/2014/main" id="{521AE014-431A-8545-A2A3-F1735407436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183772" y="4415059"/>
              <a:ext cx="1858308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Text Placeholder 9">
              <a:extLst>
                <a:ext uri="{FF2B5EF4-FFF2-40B4-BE49-F238E27FC236}">
                  <a16:creationId xmlns:a16="http://schemas.microsoft.com/office/drawing/2014/main" id="{EF8E3A58-7CC2-0E4A-8CBC-F460E4FE16D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164260" y="4415059"/>
              <a:ext cx="1858308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Text Placeholder 9">
              <a:extLst>
                <a:ext uri="{FF2B5EF4-FFF2-40B4-BE49-F238E27FC236}">
                  <a16:creationId xmlns:a16="http://schemas.microsoft.com/office/drawing/2014/main" id="{78485AF5-7238-674C-9836-F4094AACA50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144748" y="4415059"/>
              <a:ext cx="1858308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Text Placeholder 9">
              <a:extLst>
                <a:ext uri="{FF2B5EF4-FFF2-40B4-BE49-F238E27FC236}">
                  <a16:creationId xmlns:a16="http://schemas.microsoft.com/office/drawing/2014/main" id="{0D887A78-9309-8242-A72B-7CA5216037C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25236" y="4415059"/>
              <a:ext cx="1858308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Text Placeholder 9">
              <a:extLst>
                <a:ext uri="{FF2B5EF4-FFF2-40B4-BE49-F238E27FC236}">
                  <a16:creationId xmlns:a16="http://schemas.microsoft.com/office/drawing/2014/main" id="{223CD53E-C46E-B742-A52A-580E8F1A49E1}"/>
                </a:ext>
              </a:extLst>
            </p:cNvPr>
            <p:cNvSpPr txBox="1">
              <a:spLocks/>
            </p:cNvSpPr>
            <p:nvPr/>
          </p:nvSpPr>
          <p:spPr>
            <a:xfrm>
              <a:off x="218661" y="4505059"/>
              <a:ext cx="1659113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8" name="Text Placeholder 9">
              <a:extLst>
                <a:ext uri="{FF2B5EF4-FFF2-40B4-BE49-F238E27FC236}">
                  <a16:creationId xmlns:a16="http://schemas.microsoft.com/office/drawing/2014/main" id="{6F0195F8-A1F6-D44F-A263-0D0FEB58D2FC}"/>
                </a:ext>
              </a:extLst>
            </p:cNvPr>
            <p:cNvSpPr txBox="1">
              <a:spLocks/>
            </p:cNvSpPr>
            <p:nvPr/>
          </p:nvSpPr>
          <p:spPr>
            <a:xfrm>
              <a:off x="2237774" y="4505059"/>
              <a:ext cx="1659113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9" name="Text Placeholder 9">
              <a:extLst>
                <a:ext uri="{FF2B5EF4-FFF2-40B4-BE49-F238E27FC236}">
                  <a16:creationId xmlns:a16="http://schemas.microsoft.com/office/drawing/2014/main" id="{0640D768-24A1-804A-8327-2368BBDB091A}"/>
                </a:ext>
              </a:extLst>
            </p:cNvPr>
            <p:cNvSpPr txBox="1">
              <a:spLocks/>
            </p:cNvSpPr>
            <p:nvPr/>
          </p:nvSpPr>
          <p:spPr>
            <a:xfrm>
              <a:off x="4256887" y="4505059"/>
              <a:ext cx="1659113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20" name="Text Placeholder 9">
              <a:extLst>
                <a:ext uri="{FF2B5EF4-FFF2-40B4-BE49-F238E27FC236}">
                  <a16:creationId xmlns:a16="http://schemas.microsoft.com/office/drawing/2014/main" id="{84131052-5C8C-0B41-943E-6F7776744F27}"/>
                </a:ext>
              </a:extLst>
            </p:cNvPr>
            <p:cNvSpPr txBox="1">
              <a:spLocks/>
            </p:cNvSpPr>
            <p:nvPr/>
          </p:nvSpPr>
          <p:spPr>
            <a:xfrm>
              <a:off x="6276000" y="4505059"/>
              <a:ext cx="1659113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21" name="Text Placeholder 9">
              <a:extLst>
                <a:ext uri="{FF2B5EF4-FFF2-40B4-BE49-F238E27FC236}">
                  <a16:creationId xmlns:a16="http://schemas.microsoft.com/office/drawing/2014/main" id="{043296C9-CC9E-1141-B52C-FB66849780CE}"/>
                </a:ext>
              </a:extLst>
            </p:cNvPr>
            <p:cNvSpPr txBox="1">
              <a:spLocks/>
            </p:cNvSpPr>
            <p:nvPr/>
          </p:nvSpPr>
          <p:spPr>
            <a:xfrm>
              <a:off x="8295113" y="4505059"/>
              <a:ext cx="1659113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22" name="Text Placeholder 9">
              <a:extLst>
                <a:ext uri="{FF2B5EF4-FFF2-40B4-BE49-F238E27FC236}">
                  <a16:creationId xmlns:a16="http://schemas.microsoft.com/office/drawing/2014/main" id="{7A25ED7A-BD6A-C843-8C51-BC311B30FB34}"/>
                </a:ext>
              </a:extLst>
            </p:cNvPr>
            <p:cNvSpPr txBox="1">
              <a:spLocks/>
            </p:cNvSpPr>
            <p:nvPr/>
          </p:nvSpPr>
          <p:spPr>
            <a:xfrm>
              <a:off x="10314226" y="4505059"/>
              <a:ext cx="1659113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6</a:t>
              </a:r>
            </a:p>
          </p:txBody>
        </p:sp>
      </p:grpSp>
      <p:grpSp>
        <p:nvGrpSpPr>
          <p:cNvPr id="23" name="Group 34">
            <a:extLst>
              <a:ext uri="{FF2B5EF4-FFF2-40B4-BE49-F238E27FC236}">
                <a16:creationId xmlns:a16="http://schemas.microsoft.com/office/drawing/2014/main" id="{F7685452-F11F-3E46-8562-D8D0C80BEEA6}"/>
              </a:ext>
            </a:extLst>
          </p:cNvPr>
          <p:cNvGrpSpPr/>
          <p:nvPr userDrawn="1"/>
        </p:nvGrpSpPr>
        <p:grpSpPr>
          <a:xfrm>
            <a:off x="127590" y="3276233"/>
            <a:ext cx="11934000" cy="720000"/>
            <a:chOff x="127590" y="2235243"/>
            <a:chExt cx="11934000" cy="720000"/>
          </a:xfrm>
        </p:grpSpPr>
        <p:sp>
          <p:nvSpPr>
            <p:cNvPr id="24" name="Text Placeholder 9">
              <a:extLst>
                <a:ext uri="{FF2B5EF4-FFF2-40B4-BE49-F238E27FC236}">
                  <a16:creationId xmlns:a16="http://schemas.microsoft.com/office/drawing/2014/main" id="{B82A672D-C58B-884A-8983-BC0D3D78FD8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181962" y="2235243"/>
              <a:ext cx="2850812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Text Placeholder 9">
              <a:extLst>
                <a:ext uri="{FF2B5EF4-FFF2-40B4-BE49-F238E27FC236}">
                  <a16:creationId xmlns:a16="http://schemas.microsoft.com/office/drawing/2014/main" id="{C99FF96D-E19A-0443-B9BB-762D6A3E2FA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210778" y="2235243"/>
              <a:ext cx="2850812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Text Placeholder 9">
              <a:extLst>
                <a:ext uri="{FF2B5EF4-FFF2-40B4-BE49-F238E27FC236}">
                  <a16:creationId xmlns:a16="http://schemas.microsoft.com/office/drawing/2014/main" id="{544284BD-3B08-9844-BB8F-60E230D63DD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56406" y="2235243"/>
              <a:ext cx="2850812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27" name="Text Placeholder 9">
              <a:extLst>
                <a:ext uri="{FF2B5EF4-FFF2-40B4-BE49-F238E27FC236}">
                  <a16:creationId xmlns:a16="http://schemas.microsoft.com/office/drawing/2014/main" id="{6C86840D-445E-234D-9329-CCF9AD7630C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7590" y="2235243"/>
              <a:ext cx="2850812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Text Placeholder 9">
              <a:extLst>
                <a:ext uri="{FF2B5EF4-FFF2-40B4-BE49-F238E27FC236}">
                  <a16:creationId xmlns:a16="http://schemas.microsoft.com/office/drawing/2014/main" id="{3D309A13-6205-1347-BA5B-CB4147080F4E}"/>
                </a:ext>
              </a:extLst>
            </p:cNvPr>
            <p:cNvSpPr txBox="1">
              <a:spLocks/>
            </p:cNvSpPr>
            <p:nvPr/>
          </p:nvSpPr>
          <p:spPr>
            <a:xfrm>
              <a:off x="218661" y="2327595"/>
              <a:ext cx="2668670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9" name="Text Placeholder 10">
              <a:extLst>
                <a:ext uri="{FF2B5EF4-FFF2-40B4-BE49-F238E27FC236}">
                  <a16:creationId xmlns:a16="http://schemas.microsoft.com/office/drawing/2014/main" id="{66B012F4-5927-844A-B8C6-C8100A0C1E2F}"/>
                </a:ext>
              </a:extLst>
            </p:cNvPr>
            <p:cNvSpPr txBox="1">
              <a:spLocks/>
            </p:cNvSpPr>
            <p:nvPr/>
          </p:nvSpPr>
          <p:spPr>
            <a:xfrm>
              <a:off x="3247035" y="2327595"/>
              <a:ext cx="2669555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30" name="Text Placeholder 22">
              <a:extLst>
                <a:ext uri="{FF2B5EF4-FFF2-40B4-BE49-F238E27FC236}">
                  <a16:creationId xmlns:a16="http://schemas.microsoft.com/office/drawing/2014/main" id="{AF47F0C3-9153-CA45-895C-6E645A323A31}"/>
                </a:ext>
              </a:extLst>
            </p:cNvPr>
            <p:cNvSpPr txBox="1">
              <a:spLocks/>
            </p:cNvSpPr>
            <p:nvPr/>
          </p:nvSpPr>
          <p:spPr>
            <a:xfrm>
              <a:off x="9304669" y="2327595"/>
              <a:ext cx="2668670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31" name="Text Placeholder 10">
              <a:extLst>
                <a:ext uri="{FF2B5EF4-FFF2-40B4-BE49-F238E27FC236}">
                  <a16:creationId xmlns:a16="http://schemas.microsoft.com/office/drawing/2014/main" id="{0490438D-BA09-E043-AC00-954150669C12}"/>
                </a:ext>
              </a:extLst>
            </p:cNvPr>
            <p:cNvSpPr txBox="1">
              <a:spLocks/>
            </p:cNvSpPr>
            <p:nvPr/>
          </p:nvSpPr>
          <p:spPr>
            <a:xfrm>
              <a:off x="6276294" y="2327595"/>
              <a:ext cx="2668670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32" name="Group 1">
            <a:extLst>
              <a:ext uri="{FF2B5EF4-FFF2-40B4-BE49-F238E27FC236}">
                <a16:creationId xmlns:a16="http://schemas.microsoft.com/office/drawing/2014/main" id="{2A16A0A5-09B5-B849-9827-805350E3BF59}"/>
              </a:ext>
            </a:extLst>
          </p:cNvPr>
          <p:cNvGrpSpPr/>
          <p:nvPr userDrawn="1"/>
        </p:nvGrpSpPr>
        <p:grpSpPr>
          <a:xfrm>
            <a:off x="127590" y="4287385"/>
            <a:ext cx="11945348" cy="720000"/>
            <a:chOff x="127590" y="3335059"/>
            <a:chExt cx="11945348" cy="720000"/>
          </a:xfrm>
        </p:grpSpPr>
        <p:sp>
          <p:nvSpPr>
            <p:cNvPr id="33" name="Text Placeholder 9">
              <a:extLst>
                <a:ext uri="{FF2B5EF4-FFF2-40B4-BE49-F238E27FC236}">
                  <a16:creationId xmlns:a16="http://schemas.microsoft.com/office/drawing/2014/main" id="{6A453172-78B5-8543-8ED3-464E2705BC2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7590" y="3335059"/>
              <a:ext cx="2245078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34" name="Text Placeholder 9">
              <a:extLst>
                <a:ext uri="{FF2B5EF4-FFF2-40B4-BE49-F238E27FC236}">
                  <a16:creationId xmlns:a16="http://schemas.microsoft.com/office/drawing/2014/main" id="{D1060922-A81D-ED4F-9CC8-28C3CB53711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27860" y="3335059"/>
              <a:ext cx="2245078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35" name="Text Placeholder 9">
              <a:extLst>
                <a:ext uri="{FF2B5EF4-FFF2-40B4-BE49-F238E27FC236}">
                  <a16:creationId xmlns:a16="http://schemas.microsoft.com/office/drawing/2014/main" id="{F4E3CBAE-ABDD-F948-B979-64FC746FEEB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402793" y="3335059"/>
              <a:ext cx="2245078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Text Placeholder 9">
              <a:extLst>
                <a:ext uri="{FF2B5EF4-FFF2-40B4-BE49-F238E27FC236}">
                  <a16:creationId xmlns:a16="http://schemas.microsoft.com/office/drawing/2014/main" id="{9B25E39E-AFCC-744C-A936-B866BD79DA0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977725" y="3335059"/>
              <a:ext cx="2245078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37" name="Text Placeholder 9">
              <a:extLst>
                <a:ext uri="{FF2B5EF4-FFF2-40B4-BE49-F238E27FC236}">
                  <a16:creationId xmlns:a16="http://schemas.microsoft.com/office/drawing/2014/main" id="{80F3DE76-E176-4044-8747-C0AE288FFC3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552657" y="3335059"/>
              <a:ext cx="2245078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38" name="Text Placeholder 9">
              <a:extLst>
                <a:ext uri="{FF2B5EF4-FFF2-40B4-BE49-F238E27FC236}">
                  <a16:creationId xmlns:a16="http://schemas.microsoft.com/office/drawing/2014/main" id="{37916BC0-42AD-FC4F-8036-2DA114F0DE98}"/>
                </a:ext>
              </a:extLst>
            </p:cNvPr>
            <p:cNvSpPr txBox="1">
              <a:spLocks/>
            </p:cNvSpPr>
            <p:nvPr/>
          </p:nvSpPr>
          <p:spPr>
            <a:xfrm>
              <a:off x="218661" y="3425059"/>
              <a:ext cx="2062936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39" name="Text Placeholder 9">
              <a:extLst>
                <a:ext uri="{FF2B5EF4-FFF2-40B4-BE49-F238E27FC236}">
                  <a16:creationId xmlns:a16="http://schemas.microsoft.com/office/drawing/2014/main" id="{ECAE2F50-7EFB-584B-B37A-99077A0EA73B}"/>
                </a:ext>
              </a:extLst>
            </p:cNvPr>
            <p:cNvSpPr txBox="1">
              <a:spLocks/>
            </p:cNvSpPr>
            <p:nvPr/>
          </p:nvSpPr>
          <p:spPr>
            <a:xfrm>
              <a:off x="2641596" y="3425059"/>
              <a:ext cx="2062936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40" name="Text Placeholder 9">
              <a:extLst>
                <a:ext uri="{FF2B5EF4-FFF2-40B4-BE49-F238E27FC236}">
                  <a16:creationId xmlns:a16="http://schemas.microsoft.com/office/drawing/2014/main" id="{3C2BDABF-0D90-EC46-B092-D48F0D5A5162}"/>
                </a:ext>
              </a:extLst>
            </p:cNvPr>
            <p:cNvSpPr txBox="1">
              <a:spLocks/>
            </p:cNvSpPr>
            <p:nvPr/>
          </p:nvSpPr>
          <p:spPr>
            <a:xfrm>
              <a:off x="5064531" y="3425059"/>
              <a:ext cx="2062936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41" name="Text Placeholder 9">
              <a:extLst>
                <a:ext uri="{FF2B5EF4-FFF2-40B4-BE49-F238E27FC236}">
                  <a16:creationId xmlns:a16="http://schemas.microsoft.com/office/drawing/2014/main" id="{28480CBE-8162-C344-B69F-6B367607F32C}"/>
                </a:ext>
              </a:extLst>
            </p:cNvPr>
            <p:cNvSpPr txBox="1">
              <a:spLocks/>
            </p:cNvSpPr>
            <p:nvPr/>
          </p:nvSpPr>
          <p:spPr>
            <a:xfrm>
              <a:off x="7487466" y="3425059"/>
              <a:ext cx="2062936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42" name="Text Placeholder 9">
              <a:extLst>
                <a:ext uri="{FF2B5EF4-FFF2-40B4-BE49-F238E27FC236}">
                  <a16:creationId xmlns:a16="http://schemas.microsoft.com/office/drawing/2014/main" id="{0AD88A01-BAC2-584F-99A3-84FA4E6461C7}"/>
                </a:ext>
              </a:extLst>
            </p:cNvPr>
            <p:cNvSpPr txBox="1">
              <a:spLocks/>
            </p:cNvSpPr>
            <p:nvPr/>
          </p:nvSpPr>
          <p:spPr>
            <a:xfrm>
              <a:off x="9910403" y="3425059"/>
              <a:ext cx="2062936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5</a:t>
              </a:r>
            </a:p>
          </p:txBody>
        </p:sp>
      </p:grpSp>
      <p:grpSp>
        <p:nvGrpSpPr>
          <p:cNvPr id="43" name="Group 32">
            <a:extLst>
              <a:ext uri="{FF2B5EF4-FFF2-40B4-BE49-F238E27FC236}">
                <a16:creationId xmlns:a16="http://schemas.microsoft.com/office/drawing/2014/main" id="{5203B827-9A48-B646-83CE-2C846272575D}"/>
              </a:ext>
            </a:extLst>
          </p:cNvPr>
          <p:cNvGrpSpPr/>
          <p:nvPr userDrawn="1"/>
        </p:nvGrpSpPr>
        <p:grpSpPr>
          <a:xfrm>
            <a:off x="127591" y="2265081"/>
            <a:ext cx="11933999" cy="720000"/>
            <a:chOff x="127591" y="1164855"/>
            <a:chExt cx="11933999" cy="720000"/>
          </a:xfrm>
        </p:grpSpPr>
        <p:sp>
          <p:nvSpPr>
            <p:cNvPr id="44" name="Text Placeholder 9">
              <a:extLst>
                <a:ext uri="{FF2B5EF4-FFF2-40B4-BE49-F238E27FC236}">
                  <a16:creationId xmlns:a16="http://schemas.microsoft.com/office/drawing/2014/main" id="{AD2B91CA-0034-4449-9CDE-EF30FA3640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197016" y="1164855"/>
              <a:ext cx="3864574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45" name="Text Placeholder 9">
              <a:extLst>
                <a:ext uri="{FF2B5EF4-FFF2-40B4-BE49-F238E27FC236}">
                  <a16:creationId xmlns:a16="http://schemas.microsoft.com/office/drawing/2014/main" id="{0B56BAD7-8C3A-F143-BBE7-230C653E672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169301" y="1164855"/>
              <a:ext cx="3864574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46" name="Text Placeholder 9">
              <a:extLst>
                <a:ext uri="{FF2B5EF4-FFF2-40B4-BE49-F238E27FC236}">
                  <a16:creationId xmlns:a16="http://schemas.microsoft.com/office/drawing/2014/main" id="{24F0ABDF-65AF-0D4B-9C00-A4DABB2271B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27591" y="1164855"/>
              <a:ext cx="3864574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47" name="Text Placeholder 9">
              <a:extLst>
                <a:ext uri="{FF2B5EF4-FFF2-40B4-BE49-F238E27FC236}">
                  <a16:creationId xmlns:a16="http://schemas.microsoft.com/office/drawing/2014/main" id="{32F8847E-63B3-0544-B9AA-465F4C56FA13}"/>
                </a:ext>
              </a:extLst>
            </p:cNvPr>
            <p:cNvSpPr txBox="1">
              <a:spLocks/>
            </p:cNvSpPr>
            <p:nvPr/>
          </p:nvSpPr>
          <p:spPr>
            <a:xfrm>
              <a:off x="218661" y="1247595"/>
              <a:ext cx="3682433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48" name="Text Placeholder 9">
              <a:extLst>
                <a:ext uri="{FF2B5EF4-FFF2-40B4-BE49-F238E27FC236}">
                  <a16:creationId xmlns:a16="http://schemas.microsoft.com/office/drawing/2014/main" id="{81133329-A48A-F140-A2D3-8DF61B848B6B}"/>
                </a:ext>
              </a:extLst>
            </p:cNvPr>
            <p:cNvSpPr txBox="1">
              <a:spLocks/>
            </p:cNvSpPr>
            <p:nvPr/>
          </p:nvSpPr>
          <p:spPr>
            <a:xfrm>
              <a:off x="4260372" y="1247595"/>
              <a:ext cx="3682433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49" name="Text Placeholder 9">
              <a:extLst>
                <a:ext uri="{FF2B5EF4-FFF2-40B4-BE49-F238E27FC236}">
                  <a16:creationId xmlns:a16="http://schemas.microsoft.com/office/drawing/2014/main" id="{B0A28BD3-2571-624A-9E7A-235F2B861026}"/>
                </a:ext>
              </a:extLst>
            </p:cNvPr>
            <p:cNvSpPr txBox="1">
              <a:spLocks/>
            </p:cNvSpPr>
            <p:nvPr/>
          </p:nvSpPr>
          <p:spPr>
            <a:xfrm>
              <a:off x="8302084" y="1247595"/>
              <a:ext cx="3671255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50" name="Group 3">
            <a:extLst>
              <a:ext uri="{FF2B5EF4-FFF2-40B4-BE49-F238E27FC236}">
                <a16:creationId xmlns:a16="http://schemas.microsoft.com/office/drawing/2014/main" id="{134A3939-587E-7E44-ACAA-50DDF08804B5}"/>
              </a:ext>
            </a:extLst>
          </p:cNvPr>
          <p:cNvGrpSpPr/>
          <p:nvPr userDrawn="1"/>
        </p:nvGrpSpPr>
        <p:grpSpPr>
          <a:xfrm>
            <a:off x="116242" y="1253929"/>
            <a:ext cx="11956696" cy="720000"/>
            <a:chOff x="116242" y="501560"/>
            <a:chExt cx="11956696" cy="720000"/>
          </a:xfrm>
        </p:grpSpPr>
        <p:sp>
          <p:nvSpPr>
            <p:cNvPr id="51" name="Text Placeholder 9">
              <a:extLst>
                <a:ext uri="{FF2B5EF4-FFF2-40B4-BE49-F238E27FC236}">
                  <a16:creationId xmlns:a16="http://schemas.microsoft.com/office/drawing/2014/main" id="{6EE9DB47-6AFF-F04E-9CF4-C8E5CCCEDB3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16242" y="501560"/>
              <a:ext cx="5917448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Text Placeholder 9">
              <a:extLst>
                <a:ext uri="{FF2B5EF4-FFF2-40B4-BE49-F238E27FC236}">
                  <a16:creationId xmlns:a16="http://schemas.microsoft.com/office/drawing/2014/main" id="{B02149B2-B64F-0742-A692-2272E0EEB6D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155490" y="501560"/>
              <a:ext cx="5917448" cy="720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4000" b="1" dirty="0">
                <a:solidFill>
                  <a:schemeClr val="bg1"/>
                </a:solidFill>
              </a:endParaRPr>
            </a:p>
          </p:txBody>
        </p:sp>
        <p:sp>
          <p:nvSpPr>
            <p:cNvPr id="53" name="Text Placeholder 9">
              <a:extLst>
                <a:ext uri="{FF2B5EF4-FFF2-40B4-BE49-F238E27FC236}">
                  <a16:creationId xmlns:a16="http://schemas.microsoft.com/office/drawing/2014/main" id="{DCB539EA-0DFD-624B-AAF3-904C549D98B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1690" y="597369"/>
              <a:ext cx="5704310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54" name="Text Placeholder 9">
              <a:extLst>
                <a:ext uri="{FF2B5EF4-FFF2-40B4-BE49-F238E27FC236}">
                  <a16:creationId xmlns:a16="http://schemas.microsoft.com/office/drawing/2014/main" id="{79040ED2-11FB-1148-8E67-DADEF49CB7C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76001" y="597369"/>
              <a:ext cx="5690368" cy="540000"/>
            </a:xfrm>
            <a:prstGeom prst="rect">
              <a:avLst/>
            </a:prstGeom>
            <a:solidFill>
              <a:schemeClr val="accent6"/>
            </a:solidFill>
          </p:spPr>
          <p:txBody>
            <a:bodyPr anchor="ctr"/>
            <a:lstStyle>
              <a:lvl1pPr marL="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6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240" indent="0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6802" indent="-186802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11" indent="-191121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06834" indent="-176004" algn="l" defTabSz="924282" rtl="0" eaLnBrk="1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SzPct val="85000"/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1775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0391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66056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28198" indent="-231070" algn="l" defTabSz="924282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96040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5B30A896-754B-4496-9697-A65ECA3A1DD8}"/>
              </a:ext>
            </a:extLst>
          </p:cNvPr>
          <p:cNvSpPr/>
          <p:nvPr userDrawn="1"/>
        </p:nvSpPr>
        <p:spPr>
          <a:xfrm>
            <a:off x="0" y="0"/>
            <a:ext cx="4175787" cy="6858000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667" dirty="0" err="1">
              <a:solidFill>
                <a:srgbClr val="003399"/>
              </a:solidFill>
              <a:latin typeface="Calibri" pitchFamily="34" charset="0"/>
            </a:endParaRPr>
          </a:p>
        </p:txBody>
      </p:sp>
      <p:sp>
        <p:nvSpPr>
          <p:cNvPr id="4" name="Zástupný symbol pro číslo snímku 5">
            <a:extLst>
              <a:ext uri="{FF2B5EF4-FFF2-40B4-BE49-F238E27FC236}">
                <a16:creationId xmlns:a16="http://schemas.microsoft.com/office/drawing/2014/main" id="{A9698CC9-5661-4205-B58C-23A28AD532AA}"/>
              </a:ext>
            </a:extLst>
          </p:cNvPr>
          <p:cNvSpPr txBox="1">
            <a:spLocks/>
          </p:cNvSpPr>
          <p:nvPr userDrawn="1"/>
        </p:nvSpPr>
        <p:spPr>
          <a:xfrm>
            <a:off x="-12824" y="6545664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>
                    <a:lumMod val="95000"/>
                  </a:schemeClr>
                </a:solidFill>
              </a:rPr>
              <a:pPr/>
              <a:t>‹#›</a:t>
            </a:fld>
            <a:endParaRPr lang="cs-CZ" sz="16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6923038-1DA6-4B07-AF17-DB0C3F4ABF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3523" y="6570000"/>
            <a:ext cx="6826944" cy="30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733" b="1">
                <a:solidFill>
                  <a:schemeClr val="bg1">
                    <a:lumMod val="9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cs-CZ"/>
              <a:t>© Ipsos | pro ČMSS_Měření zpětné vazby | Únor 2020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10503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hap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BD9ECF6-37B6-477F-B746-54CAAD9AF9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5" y="2816932"/>
            <a:ext cx="840275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GB" dirty="0"/>
          </a:p>
        </p:txBody>
      </p:sp>
      <p:sp>
        <p:nvSpPr>
          <p:cNvPr id="11" name="Espace réservé du texte 11">
            <a:extLst>
              <a:ext uri="{FF2B5EF4-FFF2-40B4-BE49-F238E27FC236}">
                <a16:creationId xmlns:a16="http://schemas.microsoft.com/office/drawing/2014/main" id="{0C4D3036-8ECE-4179-A12A-C026ACF3BC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3" y="3288"/>
            <a:ext cx="2293791" cy="453970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6888"/>
              </a:spcBef>
              <a:buNone/>
              <a:defRPr sz="28699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6" name="Forme libre : forme 12">
            <a:extLst>
              <a:ext uri="{FF2B5EF4-FFF2-40B4-BE49-F238E27FC236}">
                <a16:creationId xmlns:a16="http://schemas.microsoft.com/office/drawing/2014/main" id="{205BD723-D061-4616-984C-0CD7519FCDB8}"/>
              </a:ext>
            </a:extLst>
          </p:cNvPr>
          <p:cNvSpPr/>
          <p:nvPr userDrawn="1"/>
        </p:nvSpPr>
        <p:spPr>
          <a:xfrm rot="18932423">
            <a:off x="2101012" y="2821243"/>
            <a:ext cx="11030123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 dirty="0"/>
          </a:p>
        </p:txBody>
      </p:sp>
      <p:sp>
        <p:nvSpPr>
          <p:cNvPr id="8" name="Forme libre : forme 13">
            <a:extLst>
              <a:ext uri="{FF2B5EF4-FFF2-40B4-BE49-F238E27FC236}">
                <a16:creationId xmlns:a16="http://schemas.microsoft.com/office/drawing/2014/main" id="{4190C1DC-A51F-478B-968C-050C62D5E9F7}"/>
              </a:ext>
            </a:extLst>
          </p:cNvPr>
          <p:cNvSpPr/>
          <p:nvPr userDrawn="1"/>
        </p:nvSpPr>
        <p:spPr>
          <a:xfrm rot="18932423">
            <a:off x="4731457" y="3460933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800" dirty="0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2D1A3439-75DD-48EB-A441-C113E87CB0B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372" y="459717"/>
            <a:ext cx="8402757" cy="707886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960"/>
              </a:spcBef>
              <a:buNone/>
              <a:defRPr sz="40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SLIDE TITLE</a:t>
            </a:r>
            <a:endParaRPr lang="en-GB" dirty="0"/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B55BBE8C-D3A5-4128-985D-382E03F9B7A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5127936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page">
    <p:bg>
      <p:bgPr>
        <a:solidFill>
          <a:srgbClr val="0025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 dirty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46" name="Connecteur droit 26">
            <a:extLst>
              <a:ext uri="{FF2B5EF4-FFF2-40B4-BE49-F238E27FC236}">
                <a16:creationId xmlns:a16="http://schemas.microsoft.com/office/drawing/2014/main" id="{D919C3F5-58B8-482D-BEAA-A218DE89B9C2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 dirty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241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ront page">
    <p:bg>
      <p:bgPr>
        <a:blipFill dpi="0" rotWithShape="1">
          <a:blip r:embed="rId2">
            <a:lum/>
          </a:blip>
          <a:srcRect/>
          <a:stretch>
            <a:fillRect t="-14000" b="-1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Name of the speaker</a:t>
            </a:r>
          </a:p>
        </p:txBody>
      </p:sp>
      <p:cxnSp>
        <p:nvCxnSpPr>
          <p:cNvPr id="46" name="Connecteur droit 26">
            <a:extLst>
              <a:ext uri="{FF2B5EF4-FFF2-40B4-BE49-F238E27FC236}">
                <a16:creationId xmlns:a16="http://schemas.microsoft.com/office/drawing/2014/main" id="{D919C3F5-58B8-482D-BEAA-A218DE89B9C2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buFontTx/>
              <a:buNone/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54453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5">
            <a:extLst>
              <a:ext uri="{FF2B5EF4-FFF2-40B4-BE49-F238E27FC236}">
                <a16:creationId xmlns:a16="http://schemas.microsoft.com/office/drawing/2014/main" id="{FD5E860C-4B49-49F8-BDBA-E5820723608D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Zástupný nadpis 1">
            <a:extLst>
              <a:ext uri="{FF2B5EF4-FFF2-40B4-BE49-F238E27FC236}">
                <a16:creationId xmlns:a16="http://schemas.microsoft.com/office/drawing/2014/main" id="{9D4E53DC-BE8D-443A-A135-866C3F945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7004766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obsah 10">
            <a:extLst>
              <a:ext uri="{FF2B5EF4-FFF2-40B4-BE49-F238E27FC236}">
                <a16:creationId xmlns:a16="http://schemas.microsoft.com/office/drawing/2014/main" id="{CA6A2266-BF2A-4C84-80B0-AC22D720321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32C3F233-6D86-44EA-88A6-7C0DF09152C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5A572D27-0EFE-4DA2-A740-E68865D3A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317701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text 11">
            <a:extLst>
              <a:ext uri="{FF2B5EF4-FFF2-40B4-BE49-F238E27FC236}">
                <a16:creationId xmlns:a16="http://schemas.microsoft.com/office/drawing/2014/main" id="{D75B9138-CC83-4560-8013-7172DC0AD3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FDBD8B65-002E-457B-81D4-568AF849A79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FB7DCFB9-985E-43F8-BAC9-BD2F23ADF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1402609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g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obsah 10">
            <a:extLst>
              <a:ext uri="{FF2B5EF4-FFF2-40B4-BE49-F238E27FC236}">
                <a16:creationId xmlns:a16="http://schemas.microsoft.com/office/drawing/2014/main" id="{EDF33C54-350E-0D47-9B72-9C08487EAC1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48B9EBD2-4EB8-4902-A465-C065CF478335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19F35C4A-73BC-408E-B5BD-D4506E1BA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EF09560A-B2DA-46D7-A56B-3D06EECF1B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42828592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Zástupný symbol pro číslo snímku 5">
            <a:extLst>
              <a:ext uri="{FF2B5EF4-FFF2-40B4-BE49-F238E27FC236}">
                <a16:creationId xmlns:a16="http://schemas.microsoft.com/office/drawing/2014/main" id="{DE067373-992F-4DC6-BB5A-4CA5D60592E1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Zástupný nadpis 1">
            <a:extLst>
              <a:ext uri="{FF2B5EF4-FFF2-40B4-BE49-F238E27FC236}">
                <a16:creationId xmlns:a16="http://schemas.microsoft.com/office/drawing/2014/main" id="{909DE12B-B592-403A-8243-2E494B9E7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4581288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0">
            <a:extLst>
              <a:ext uri="{FF2B5EF4-FFF2-40B4-BE49-F238E27FC236}">
                <a16:creationId xmlns:a16="http://schemas.microsoft.com/office/drawing/2014/main" id="{3AAA38DB-6D26-43F5-948F-5A3E7269C1C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4" name="Cadre 7">
            <a:extLst>
              <a:ext uri="{FF2B5EF4-FFF2-40B4-BE49-F238E27FC236}">
                <a16:creationId xmlns:a16="http://schemas.microsoft.com/office/drawing/2014/main" id="{048241AB-3104-4748-A476-1E2517C8C1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21043B53-B1DE-41AB-B42E-89E061A17C86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CDDFDD2A-4869-43E4-85C9-513A9BE48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6594787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obsah 10">
            <a:extLst>
              <a:ext uri="{FF2B5EF4-FFF2-40B4-BE49-F238E27FC236}">
                <a16:creationId xmlns:a16="http://schemas.microsoft.com/office/drawing/2014/main" id="{CA6A2266-BF2A-4C84-80B0-AC22D720321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32C3F233-6D86-44EA-88A6-7C0DF09152C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5A572D27-0EFE-4DA2-A740-E68865D3A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722463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e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C300C43C-3D53-4B44-AA6D-BF6CA8E53D4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9955F9D6-7445-4E5B-AAAA-4AF9018061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50E3508E-9631-4CCB-896C-19A94526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5408960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g_text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0" name="Zástupný symbol pro obsah 10">
            <a:extLst>
              <a:ext uri="{FF2B5EF4-FFF2-40B4-BE49-F238E27FC236}">
                <a16:creationId xmlns:a16="http://schemas.microsoft.com/office/drawing/2014/main" id="{DDC4E762-56D8-4B3B-9A49-64654B96E33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3" name="Zástupný symbol pro číslo snímku 5">
            <a:extLst>
              <a:ext uri="{FF2B5EF4-FFF2-40B4-BE49-F238E27FC236}">
                <a16:creationId xmlns:a16="http://schemas.microsoft.com/office/drawing/2014/main" id="{CBE7C74D-C588-4E20-B5A3-EB628CAEE02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Zástupný nadpis 1">
            <a:extLst>
              <a:ext uri="{FF2B5EF4-FFF2-40B4-BE49-F238E27FC236}">
                <a16:creationId xmlns:a16="http://schemas.microsoft.com/office/drawing/2014/main" id="{8092B74C-9F23-438F-92F8-7351E6922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5" name="Zástupný text 11">
            <a:extLst>
              <a:ext uri="{FF2B5EF4-FFF2-40B4-BE49-F238E27FC236}">
                <a16:creationId xmlns:a16="http://schemas.microsoft.com/office/drawing/2014/main" id="{4A2D4B60-D5DB-4E59-B9C5-BDED2AFBAE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4629550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_charts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A46B841C-B512-4D08-AAEB-09BFAE8326D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33799258-4236-4658-815F-E7080FA87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C6B3171-7812-4680-876B-115FFA49D08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383518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_charts_title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64E8F316-F2EE-49A3-8438-91B59E3E2B5E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1304360A-A1E8-449E-A7C8-198584CC3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F4A47D0-AA52-4488-BD10-1A3F4CB02B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Zástupný text 11">
            <a:extLst>
              <a:ext uri="{FF2B5EF4-FFF2-40B4-BE49-F238E27FC236}">
                <a16:creationId xmlns:a16="http://schemas.microsoft.com/office/drawing/2014/main" id="{A1B5BF6E-DF2C-4C30-A85A-D728340BB3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01096584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366507" y="3344014"/>
            <a:ext cx="9457547" cy="1083375"/>
          </a:xfrm>
          <a:prstGeom prst="rect">
            <a:avLst/>
          </a:prstGeom>
        </p:spPr>
        <p:txBody>
          <a:bodyPr lIns="36000" tIns="0" rIns="36000" bIns="0" anchor="b">
            <a:noAutofit/>
          </a:bodyPr>
          <a:lstStyle>
            <a:lvl1pPr>
              <a:lnSpc>
                <a:spcPct val="80000"/>
              </a:lnSpc>
              <a:spcBef>
                <a:spcPts val="1219"/>
              </a:spcBef>
              <a:defRPr sz="6000" cap="all" baseline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omething</a:t>
            </a:r>
            <a:endParaRPr lang="en-GB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366507" y="2476736"/>
            <a:ext cx="9457547" cy="829179"/>
          </a:xfrm>
          <a:prstGeom prst="rect">
            <a:avLst/>
          </a:prstGeom>
        </p:spPr>
        <p:txBody>
          <a:bodyPr lIns="36000" tIns="0" rIns="36000" bIns="0" anchor="b">
            <a:normAutofit/>
          </a:bodyPr>
          <a:lstStyle>
            <a:lvl1pPr marL="0" indent="0">
              <a:spcBef>
                <a:spcPts val="1828"/>
              </a:spcBef>
              <a:buNone/>
              <a:defRPr sz="2400" b="1" cap="none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omething</a:t>
            </a:r>
          </a:p>
        </p:txBody>
      </p:sp>
      <p:sp>
        <p:nvSpPr>
          <p:cNvPr id="5" name="Zástupný symbol pro číslo snímku 5">
            <a:extLst>
              <a:ext uri="{FF2B5EF4-FFF2-40B4-BE49-F238E27FC236}">
                <a16:creationId xmlns:a16="http://schemas.microsoft.com/office/drawing/2014/main" id="{B0D94F78-BC14-4930-BD5B-7E1E3C564CB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0045720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p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BD9ECF6-37B6-477F-B746-54CAAD9AF9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4" y="2816932"/>
            <a:ext cx="840275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GB" dirty="0"/>
          </a:p>
        </p:txBody>
      </p:sp>
      <p:sp>
        <p:nvSpPr>
          <p:cNvPr id="11" name="Espace réservé du texte 11">
            <a:extLst>
              <a:ext uri="{FF2B5EF4-FFF2-40B4-BE49-F238E27FC236}">
                <a16:creationId xmlns:a16="http://schemas.microsoft.com/office/drawing/2014/main" id="{0C4D3036-8ECE-4179-A12A-C026ACF3BC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50892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6888"/>
              </a:spcBef>
              <a:buNone/>
              <a:defRPr sz="28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6" name="Forme libre : forme 12">
            <a:extLst>
              <a:ext uri="{FF2B5EF4-FFF2-40B4-BE49-F238E27FC236}">
                <a16:creationId xmlns:a16="http://schemas.microsoft.com/office/drawing/2014/main" id="{205BD723-D061-4616-984C-0CD7519FCDB8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8" name="Forme libre : forme 13">
            <a:extLst>
              <a:ext uri="{FF2B5EF4-FFF2-40B4-BE49-F238E27FC236}">
                <a16:creationId xmlns:a16="http://schemas.microsoft.com/office/drawing/2014/main" id="{4190C1DC-A51F-478B-968C-050C62D5E9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2D1A3439-75DD-48EB-A441-C113E87CB0B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371" y="459718"/>
            <a:ext cx="8402757" cy="707886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960"/>
              </a:spcBef>
              <a:buNone/>
              <a:defRPr sz="40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SLIDE TITLE</a:t>
            </a:r>
            <a:endParaRPr lang="en-GB" dirty="0"/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B55BBE8C-D3A5-4128-985D-382E03F9B7A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9723231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2">
            <a:extLst>
              <a:ext uri="{FF2B5EF4-FFF2-40B4-BE49-F238E27FC236}">
                <a16:creationId xmlns:a16="http://schemas.microsoft.com/office/drawing/2014/main" id="{E19D5A77-3F17-40D6-9208-CADFA9BB7E5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387768" y="1756954"/>
            <a:ext cx="1620000" cy="1620000"/>
          </a:xfrm>
          <a:prstGeom prst="ellipse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photo</a:t>
            </a:r>
          </a:p>
        </p:txBody>
      </p:sp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8DB7CF4E-A978-4373-B314-E5D811A794F0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A4369984-AE3E-4E92-B72D-2F9B05A92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E6C4F9C8-493D-45A4-A325-E777EF2F74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1480915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text 11">
            <a:extLst>
              <a:ext uri="{FF2B5EF4-FFF2-40B4-BE49-F238E27FC236}">
                <a16:creationId xmlns:a16="http://schemas.microsoft.com/office/drawing/2014/main" id="{D75B9138-CC83-4560-8013-7172DC0AD3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FDBD8B65-002E-457B-81D4-568AF849A79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FB7DCFB9-985E-43F8-BAC9-BD2F23ADF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026144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g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obsah 10">
            <a:extLst>
              <a:ext uri="{FF2B5EF4-FFF2-40B4-BE49-F238E27FC236}">
                <a16:creationId xmlns:a16="http://schemas.microsoft.com/office/drawing/2014/main" id="{EDF33C54-350E-0D47-9B72-9C08487EAC1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48B9EBD2-4EB8-4902-A465-C065CF478335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19F35C4A-73BC-408E-B5BD-D4506E1BA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EF09560A-B2DA-46D7-A56B-3D06EECF1B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8225417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Zástupný symbol pro číslo snímku 5">
            <a:extLst>
              <a:ext uri="{FF2B5EF4-FFF2-40B4-BE49-F238E27FC236}">
                <a16:creationId xmlns:a16="http://schemas.microsoft.com/office/drawing/2014/main" id="{DE067373-992F-4DC6-BB5A-4CA5D60592E1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Zástupný nadpis 1">
            <a:extLst>
              <a:ext uri="{FF2B5EF4-FFF2-40B4-BE49-F238E27FC236}">
                <a16:creationId xmlns:a16="http://schemas.microsoft.com/office/drawing/2014/main" id="{909DE12B-B592-403A-8243-2E494B9E7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1396166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0">
            <a:extLst>
              <a:ext uri="{FF2B5EF4-FFF2-40B4-BE49-F238E27FC236}">
                <a16:creationId xmlns:a16="http://schemas.microsoft.com/office/drawing/2014/main" id="{3AAA38DB-6D26-43F5-948F-5A3E7269C1C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4" name="Cadre 7">
            <a:extLst>
              <a:ext uri="{FF2B5EF4-FFF2-40B4-BE49-F238E27FC236}">
                <a16:creationId xmlns:a16="http://schemas.microsoft.com/office/drawing/2014/main" id="{048241AB-3104-4748-A476-1E2517C8C1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21043B53-B1DE-41AB-B42E-89E061A17C86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CDDFDD2A-4869-43E4-85C9-513A9BE48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40545634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3.svg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18.xml"/><Relationship Id="rId16" Type="http://schemas.openxmlformats.org/officeDocument/2006/relationships/theme" Target="../theme/theme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34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36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image" Target="../media/image3.sv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43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C507F24-9F41-4D45-9274-1AA8991D0E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36924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21" imgH="423" progId="TCLayout.ActiveDocument.1">
                  <p:embed/>
                </p:oleObj>
              </mc:Choice>
              <mc:Fallback>
                <p:oleObj name="think-cell Slide" r:id="rId19" imgW="421" imgH="4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C507F24-9F41-4D45-9274-1AA8991D0E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phique 17">
            <a:extLst>
              <a:ext uri="{FF2B5EF4-FFF2-40B4-BE49-F238E27FC236}">
                <a16:creationId xmlns:a16="http://schemas.microsoft.com/office/drawing/2014/main" id="{139C8811-E04B-4857-A1BC-1936CB229700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5" name="Zástupný nadpis 1">
            <a:extLst>
              <a:ext uri="{FF2B5EF4-FFF2-40B4-BE49-F238E27FC236}">
                <a16:creationId xmlns:a16="http://schemas.microsoft.com/office/drawing/2014/main" id="{BD18B298-9C00-4CA8-9F35-39EB6D6E2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489182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8" r:id="rId1"/>
    <p:sldLayoutId id="2147484179" r:id="rId2"/>
    <p:sldLayoutId id="2147484180" r:id="rId3"/>
    <p:sldLayoutId id="2147484193" r:id="rId4"/>
    <p:sldLayoutId id="2147484181" r:id="rId5"/>
    <p:sldLayoutId id="2147484182" r:id="rId6"/>
    <p:sldLayoutId id="2147484183" r:id="rId7"/>
    <p:sldLayoutId id="2147484184" r:id="rId8"/>
    <p:sldLayoutId id="2147484185" r:id="rId9"/>
    <p:sldLayoutId id="2147484186" r:id="rId10"/>
    <p:sldLayoutId id="2147484187" r:id="rId11"/>
    <p:sldLayoutId id="2147484188" r:id="rId12"/>
    <p:sldLayoutId id="2147484189" r:id="rId13"/>
    <p:sldLayoutId id="2147484190" r:id="rId14"/>
    <p:sldLayoutId id="2147484191" r:id="rId15"/>
    <p:sldLayoutId id="2147484192" r:id="rId16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5">
          <p15:clr>
            <a:srgbClr val="F26B43"/>
          </p15:clr>
        </p15:guide>
        <p15:guide id="4" pos="7605">
          <p15:clr>
            <a:srgbClr val="F26B43"/>
          </p15:clr>
        </p15:guide>
        <p15:guide id="5" orient="horz" pos="73">
          <p15:clr>
            <a:srgbClr val="F26B43"/>
          </p15:clr>
        </p15:guide>
        <p15:guide id="6" orient="horz" pos="4247">
          <p15:clr>
            <a:srgbClr val="F26B43"/>
          </p15:clr>
        </p15:guide>
        <p15:guide id="7" pos="325">
          <p15:clr>
            <a:srgbClr val="F26B43"/>
          </p15:clr>
        </p15:guide>
        <p15:guide id="8" pos="7333">
          <p15:clr>
            <a:srgbClr val="F26B43"/>
          </p15:clr>
        </p15:guide>
        <p15:guide id="10" orient="horz" pos="3793">
          <p15:clr>
            <a:srgbClr val="F26B43"/>
          </p15:clr>
        </p15:guide>
        <p15:guide id="11" orient="horz" pos="391">
          <p15:clr>
            <a:srgbClr val="F26B43"/>
          </p15:clr>
        </p15:guide>
        <p15:guide id="12" orient="horz" pos="79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D53B905-235A-408F-83A5-6F473294B0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28378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21" imgH="423" progId="TCLayout.ActiveDocument.1">
                  <p:embed/>
                </p:oleObj>
              </mc:Choice>
              <mc:Fallback>
                <p:oleObj name="think-cell Slide" r:id="rId18" imgW="421" imgH="4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D53B905-235A-408F-83A5-6F473294B0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phique 17">
            <a:extLst>
              <a:ext uri="{FF2B5EF4-FFF2-40B4-BE49-F238E27FC236}">
                <a16:creationId xmlns:a16="http://schemas.microsoft.com/office/drawing/2014/main" id="{139C8811-E04B-4857-A1BC-1936CB229700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255164" y="6192880"/>
            <a:ext cx="549900" cy="495918"/>
          </a:xfrm>
          <a:prstGeom prst="rect">
            <a:avLst/>
          </a:prstGeom>
        </p:spPr>
      </p:pic>
      <p:sp>
        <p:nvSpPr>
          <p:cNvPr id="5" name="Zástupný nadpis 1">
            <a:extLst>
              <a:ext uri="{FF2B5EF4-FFF2-40B4-BE49-F238E27FC236}">
                <a16:creationId xmlns:a16="http://schemas.microsoft.com/office/drawing/2014/main" id="{BD18B298-9C00-4CA8-9F35-39EB6D6E2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396820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9" r:id="rId1"/>
    <p:sldLayoutId id="2147484210" r:id="rId2"/>
    <p:sldLayoutId id="2147484211" r:id="rId3"/>
    <p:sldLayoutId id="2147484212" r:id="rId4"/>
    <p:sldLayoutId id="2147484213" r:id="rId5"/>
    <p:sldLayoutId id="2147484214" r:id="rId6"/>
    <p:sldLayoutId id="2147484215" r:id="rId7"/>
    <p:sldLayoutId id="2147484216" r:id="rId8"/>
    <p:sldLayoutId id="2147484217" r:id="rId9"/>
    <p:sldLayoutId id="2147484218" r:id="rId10"/>
    <p:sldLayoutId id="2147484219" r:id="rId11"/>
    <p:sldLayoutId id="2147484220" r:id="rId12"/>
    <p:sldLayoutId id="2147484221" r:id="rId13"/>
    <p:sldLayoutId id="2147484222" r:id="rId14"/>
    <p:sldLayoutId id="2147484223" r:id="rId15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5">
          <p15:clr>
            <a:srgbClr val="F26B43"/>
          </p15:clr>
        </p15:guide>
        <p15:guide id="4" pos="7605">
          <p15:clr>
            <a:srgbClr val="F26B43"/>
          </p15:clr>
        </p15:guide>
        <p15:guide id="5" orient="horz" pos="73">
          <p15:clr>
            <a:srgbClr val="F26B43"/>
          </p15:clr>
        </p15:guide>
        <p15:guide id="6" orient="horz" pos="4247">
          <p15:clr>
            <a:srgbClr val="F26B43"/>
          </p15:clr>
        </p15:guide>
        <p15:guide id="7" pos="325">
          <p15:clr>
            <a:srgbClr val="F26B43"/>
          </p15:clr>
        </p15:guide>
        <p15:guide id="8" pos="7333">
          <p15:clr>
            <a:srgbClr val="F26B43"/>
          </p15:clr>
        </p15:guide>
        <p15:guide id="10" orient="horz" pos="3793">
          <p15:clr>
            <a:srgbClr val="F26B43"/>
          </p15:clr>
        </p15:guide>
        <p15:guide id="11" orient="horz" pos="391">
          <p15:clr>
            <a:srgbClr val="F26B43"/>
          </p15:clr>
        </p15:guide>
        <p15:guide id="12" orient="horz" pos="7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26FD1EB-D8D9-4315-8B2E-4BD0CD5EA1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55840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1" imgH="423" progId="TCLayout.ActiveDocument.1">
                  <p:embed/>
                </p:oleObj>
              </mc:Choice>
              <mc:Fallback>
                <p:oleObj name="think-cell Slide" r:id="rId8" imgW="421" imgH="42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26FD1EB-D8D9-4315-8B2E-4BD0CD5EA1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282744" y="8476"/>
            <a:ext cx="11573896" cy="626296"/>
          </a:xfrm>
          <a:prstGeom prst="rect">
            <a:avLst/>
          </a:prstGeom>
        </p:spPr>
        <p:txBody>
          <a:bodyPr vert="horz" lIns="36000" tIns="45720" rIns="36000" bIns="45720" rtlCol="0" anchor="t">
            <a:normAutofit/>
          </a:bodyPr>
          <a:lstStyle/>
          <a:p>
            <a:r>
              <a:rPr lang="en-US" dirty="0"/>
              <a:t>Click to edit template headings</a:t>
            </a:r>
            <a:r>
              <a:rPr lang="cs-CZ" dirty="0"/>
              <a:t> </a:t>
            </a:r>
            <a:r>
              <a:rPr lang="en-US" dirty="0"/>
              <a:t>style.</a:t>
            </a:r>
            <a:endParaRPr lang="cs-CZ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1390653" y="1989137"/>
            <a:ext cx="9410700" cy="44640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pic>
        <p:nvPicPr>
          <p:cNvPr id="5" name="Picture 10" descr="IPSOS_GAMECHANGERS_blue.pn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11490219" y="6316897"/>
            <a:ext cx="503103" cy="474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329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5" r:id="rId1"/>
    <p:sldLayoutId id="2147484226" r:id="rId2"/>
    <p:sldLayoutId id="2147484227" r:id="rId3"/>
    <p:sldLayoutId id="2147484228" r:id="rId4"/>
    <p:sldLayoutId id="2147484229" r:id="rId5"/>
  </p:sldLayoutIdLst>
  <p:hf sldNum="0" hdr="0" dt="0"/>
  <p:txStyles>
    <p:titleStyle>
      <a:lvl1pPr algn="l" defTabSz="1219170" rtl="0" eaLnBrk="1" latinLnBrk="0" hangingPunct="1">
        <a:spcBef>
          <a:spcPct val="0"/>
        </a:spcBef>
        <a:buNone/>
        <a:defRPr sz="3733" b="1" kern="1200">
          <a:solidFill>
            <a:srgbClr val="404040"/>
          </a:solidFill>
          <a:latin typeface="Calibri" pitchFamily="34" charset="0"/>
          <a:ea typeface="+mj-ea"/>
          <a:cs typeface="Arial" pitchFamily="34" charset="0"/>
        </a:defRPr>
      </a:lvl1pPr>
    </p:titleStyle>
    <p:bodyStyle>
      <a:lvl1pPr marL="237061" indent="-237061" algn="l" defTabSz="1219170" rtl="0" eaLnBrk="1" latinLnBrk="0" hangingPunct="1">
        <a:spcBef>
          <a:spcPct val="20000"/>
        </a:spcBef>
        <a:buFont typeface="Wingdings" pitchFamily="2" charset="2"/>
        <a:buNone/>
        <a:defRPr sz="3200" kern="1200">
          <a:solidFill>
            <a:srgbClr val="404040"/>
          </a:solidFill>
          <a:latin typeface="Calibri" pitchFamily="34" charset="0"/>
          <a:ea typeface="+mn-ea"/>
          <a:cs typeface="Arial" pitchFamily="34" charset="0"/>
        </a:defRPr>
      </a:lvl1pPr>
      <a:lvl2pPr marL="592652" indent="-270927" algn="l" defTabSz="1219170" rtl="0" eaLnBrk="1" latinLnBrk="0" hangingPunct="1">
        <a:spcBef>
          <a:spcPct val="20000"/>
        </a:spcBef>
        <a:buSzPct val="100000"/>
        <a:buFont typeface="Arial" pitchFamily="34" charset="0"/>
        <a:buNone/>
        <a:defRPr sz="2667" kern="1200">
          <a:solidFill>
            <a:srgbClr val="404040"/>
          </a:solidFill>
          <a:latin typeface="Calibri" pitchFamily="34" charset="0"/>
          <a:ea typeface="+mn-ea"/>
          <a:cs typeface="Arial" pitchFamily="34" charset="0"/>
        </a:defRPr>
      </a:lvl2pPr>
      <a:lvl3pPr marL="829713" indent="-169329" algn="l" defTabSz="1219170" rtl="0" eaLnBrk="1" latinLnBrk="0" hangingPunct="1">
        <a:spcBef>
          <a:spcPct val="20000"/>
        </a:spcBef>
        <a:buSzPct val="80000"/>
        <a:buFont typeface="Wingdings" pitchFamily="2" charset="2"/>
        <a:buNone/>
        <a:defRPr sz="2667" kern="1200">
          <a:solidFill>
            <a:srgbClr val="404040"/>
          </a:solidFill>
          <a:latin typeface="Calibri" pitchFamily="34" charset="0"/>
          <a:ea typeface="+mn-ea"/>
          <a:cs typeface="Arial" pitchFamily="34" charset="0"/>
        </a:defRPr>
      </a:lvl3pPr>
      <a:lvl4pPr marL="1202237" indent="-186262" algn="l" defTabSz="1219170" rtl="0" eaLnBrk="1" latinLnBrk="0" hangingPunct="1">
        <a:spcBef>
          <a:spcPct val="20000"/>
        </a:spcBef>
        <a:buFont typeface="Arial" pitchFamily="34" charset="0"/>
        <a:buNone/>
        <a:defRPr sz="2400" kern="1200">
          <a:solidFill>
            <a:srgbClr val="404040"/>
          </a:solidFill>
          <a:latin typeface="Calibri" pitchFamily="34" charset="0"/>
          <a:ea typeface="+mn-ea"/>
          <a:cs typeface="Arial" pitchFamily="34" charset="0"/>
        </a:defRPr>
      </a:lvl4pPr>
      <a:lvl5pPr marL="1551479" indent="-186262" algn="l" defTabSz="1219170" rtl="0" eaLnBrk="1" latinLnBrk="0" hangingPunct="1">
        <a:spcBef>
          <a:spcPct val="20000"/>
        </a:spcBef>
        <a:buFont typeface="Arial" pitchFamily="34" charset="0"/>
        <a:buNone/>
        <a:defRPr sz="2133" kern="1200">
          <a:solidFill>
            <a:srgbClr val="404040"/>
          </a:solidFill>
          <a:latin typeface="Calibri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282744" y="8476"/>
            <a:ext cx="11573896" cy="626296"/>
          </a:xfrm>
          <a:prstGeom prst="rect">
            <a:avLst/>
          </a:prstGeom>
        </p:spPr>
        <p:txBody>
          <a:bodyPr vert="horz" lIns="36000" tIns="45720" rIns="36000" bIns="45720" rtlCol="0" anchor="t">
            <a:normAutofit/>
          </a:bodyPr>
          <a:lstStyle/>
          <a:p>
            <a:r>
              <a:rPr lang="en-US" dirty="0"/>
              <a:t>Click to edit template headings</a:t>
            </a:r>
            <a:r>
              <a:rPr lang="cs-CZ" dirty="0"/>
              <a:t> </a:t>
            </a:r>
            <a:r>
              <a:rPr lang="en-US" dirty="0"/>
              <a:t>style.</a:t>
            </a:r>
            <a:endParaRPr lang="cs-CZ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1390653" y="1989137"/>
            <a:ext cx="9410700" cy="44640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pic>
        <p:nvPicPr>
          <p:cNvPr id="5" name="Picture 10" descr="IPSOS_GAMECHANGERS_blue.png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11490219" y="6316897"/>
            <a:ext cx="503103" cy="474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291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5" r:id="rId1"/>
    <p:sldLayoutId id="2147484246" r:id="rId2"/>
    <p:sldLayoutId id="2147484247" r:id="rId3"/>
    <p:sldLayoutId id="2147484248" r:id="rId4"/>
    <p:sldLayoutId id="2147484249" r:id="rId5"/>
  </p:sldLayoutIdLst>
  <p:hf sldNum="0" hdr="0" dt="0"/>
  <p:txStyles>
    <p:titleStyle>
      <a:lvl1pPr algn="l" defTabSz="1219170" rtl="0" eaLnBrk="1" latinLnBrk="0" hangingPunct="1">
        <a:spcBef>
          <a:spcPct val="0"/>
        </a:spcBef>
        <a:buNone/>
        <a:defRPr sz="3733" b="1" kern="1200">
          <a:solidFill>
            <a:srgbClr val="404040"/>
          </a:solidFill>
          <a:latin typeface="Calibri" pitchFamily="34" charset="0"/>
          <a:ea typeface="+mj-ea"/>
          <a:cs typeface="Arial" pitchFamily="34" charset="0"/>
        </a:defRPr>
      </a:lvl1pPr>
    </p:titleStyle>
    <p:bodyStyle>
      <a:lvl1pPr marL="237061" indent="-237061" algn="l" defTabSz="1219170" rtl="0" eaLnBrk="1" latinLnBrk="0" hangingPunct="1">
        <a:spcBef>
          <a:spcPct val="20000"/>
        </a:spcBef>
        <a:buFont typeface="Wingdings" pitchFamily="2" charset="2"/>
        <a:buNone/>
        <a:defRPr sz="3200" kern="1200">
          <a:solidFill>
            <a:srgbClr val="404040"/>
          </a:solidFill>
          <a:latin typeface="Calibri" pitchFamily="34" charset="0"/>
          <a:ea typeface="+mn-ea"/>
          <a:cs typeface="Arial" pitchFamily="34" charset="0"/>
        </a:defRPr>
      </a:lvl1pPr>
      <a:lvl2pPr marL="592652" indent="-270927" algn="l" defTabSz="1219170" rtl="0" eaLnBrk="1" latinLnBrk="0" hangingPunct="1">
        <a:spcBef>
          <a:spcPct val="20000"/>
        </a:spcBef>
        <a:buSzPct val="100000"/>
        <a:buFont typeface="Arial" pitchFamily="34" charset="0"/>
        <a:buNone/>
        <a:defRPr sz="2667" kern="1200">
          <a:solidFill>
            <a:srgbClr val="404040"/>
          </a:solidFill>
          <a:latin typeface="Calibri" pitchFamily="34" charset="0"/>
          <a:ea typeface="+mn-ea"/>
          <a:cs typeface="Arial" pitchFamily="34" charset="0"/>
        </a:defRPr>
      </a:lvl2pPr>
      <a:lvl3pPr marL="829713" indent="-169329" algn="l" defTabSz="1219170" rtl="0" eaLnBrk="1" latinLnBrk="0" hangingPunct="1">
        <a:spcBef>
          <a:spcPct val="20000"/>
        </a:spcBef>
        <a:buSzPct val="80000"/>
        <a:buFont typeface="Wingdings" pitchFamily="2" charset="2"/>
        <a:buNone/>
        <a:defRPr sz="2667" kern="1200">
          <a:solidFill>
            <a:srgbClr val="404040"/>
          </a:solidFill>
          <a:latin typeface="Calibri" pitchFamily="34" charset="0"/>
          <a:ea typeface="+mn-ea"/>
          <a:cs typeface="Arial" pitchFamily="34" charset="0"/>
        </a:defRPr>
      </a:lvl3pPr>
      <a:lvl4pPr marL="1202237" indent="-186262" algn="l" defTabSz="1219170" rtl="0" eaLnBrk="1" latinLnBrk="0" hangingPunct="1">
        <a:spcBef>
          <a:spcPct val="20000"/>
        </a:spcBef>
        <a:buFont typeface="Arial" pitchFamily="34" charset="0"/>
        <a:buNone/>
        <a:defRPr sz="2400" kern="1200">
          <a:solidFill>
            <a:srgbClr val="404040"/>
          </a:solidFill>
          <a:latin typeface="Calibri" pitchFamily="34" charset="0"/>
          <a:ea typeface="+mn-ea"/>
          <a:cs typeface="Arial" pitchFamily="34" charset="0"/>
        </a:defRPr>
      </a:lvl4pPr>
      <a:lvl5pPr marL="1551479" indent="-186262" algn="l" defTabSz="1219170" rtl="0" eaLnBrk="1" latinLnBrk="0" hangingPunct="1">
        <a:spcBef>
          <a:spcPct val="20000"/>
        </a:spcBef>
        <a:buFont typeface="Arial" pitchFamily="34" charset="0"/>
        <a:buNone/>
        <a:defRPr sz="2133" kern="1200">
          <a:solidFill>
            <a:srgbClr val="404040"/>
          </a:solidFill>
          <a:latin typeface="Calibri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que 17">
            <a:extLst>
              <a:ext uri="{FF2B5EF4-FFF2-40B4-BE49-F238E27FC236}">
                <a16:creationId xmlns:a16="http://schemas.microsoft.com/office/drawing/2014/main" id="{139C8811-E04B-4857-A1BC-1936CB229700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5" name="Zástupný nadpis 1">
            <a:extLst>
              <a:ext uri="{FF2B5EF4-FFF2-40B4-BE49-F238E27FC236}">
                <a16:creationId xmlns:a16="http://schemas.microsoft.com/office/drawing/2014/main" id="{BD18B298-9C00-4CA8-9F35-39EB6D6E2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011913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2" r:id="rId1"/>
    <p:sldLayoutId id="2147484253" r:id="rId2"/>
    <p:sldLayoutId id="2147484254" r:id="rId3"/>
    <p:sldLayoutId id="2147484255" r:id="rId4"/>
    <p:sldLayoutId id="2147484256" r:id="rId5"/>
    <p:sldLayoutId id="2147484257" r:id="rId6"/>
    <p:sldLayoutId id="2147484258" r:id="rId7"/>
    <p:sldLayoutId id="2147484259" r:id="rId8"/>
    <p:sldLayoutId id="2147484260" r:id="rId9"/>
    <p:sldLayoutId id="2147484261" r:id="rId10"/>
    <p:sldLayoutId id="2147484262" r:id="rId11"/>
    <p:sldLayoutId id="2147484263" r:id="rId12"/>
    <p:sldLayoutId id="2147484264" r:id="rId13"/>
    <p:sldLayoutId id="2147484265" r:id="rId14"/>
    <p:sldLayoutId id="2147484266" r:id="rId15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5">
          <p15:clr>
            <a:srgbClr val="F26B43"/>
          </p15:clr>
        </p15:guide>
        <p15:guide id="4" pos="7605">
          <p15:clr>
            <a:srgbClr val="F26B43"/>
          </p15:clr>
        </p15:guide>
        <p15:guide id="5" orient="horz" pos="73">
          <p15:clr>
            <a:srgbClr val="F26B43"/>
          </p15:clr>
        </p15:guide>
        <p15:guide id="6" orient="horz" pos="4247">
          <p15:clr>
            <a:srgbClr val="F26B43"/>
          </p15:clr>
        </p15:guide>
        <p15:guide id="7" pos="325">
          <p15:clr>
            <a:srgbClr val="F26B43"/>
          </p15:clr>
        </p15:guide>
        <p15:guide id="8" pos="7333">
          <p15:clr>
            <a:srgbClr val="F26B43"/>
          </p15:clr>
        </p15:guide>
        <p15:guide id="10" orient="horz" pos="3793">
          <p15:clr>
            <a:srgbClr val="F26B43"/>
          </p15:clr>
        </p15:guide>
        <p15:guide id="11" orient="horz" pos="391">
          <p15:clr>
            <a:srgbClr val="F26B43"/>
          </p15:clr>
        </p15:guide>
        <p15:guide id="12" orient="horz" pos="79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jp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7" Type="http://schemas.openxmlformats.org/officeDocument/2006/relationships/image" Target="../media/image15.emf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6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D07A992-4C9A-4CBC-9315-FAEC4FBA1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262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D07A992-4C9A-4CBC-9315-FAEC4FBA1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odnadpis 2">
            <a:extLst>
              <a:ext uri="{FF2B5EF4-FFF2-40B4-BE49-F238E27FC236}">
                <a16:creationId xmlns:a16="http://schemas.microsoft.com/office/drawing/2014/main" id="{5AACC097-902E-4558-82CF-DEB8015113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3372" y="3030307"/>
            <a:ext cx="8532948" cy="400110"/>
          </a:xfrm>
        </p:spPr>
        <p:txBody>
          <a:bodyPr/>
          <a:lstStyle/>
          <a:p>
            <a:r>
              <a:rPr lang="cs-CZ" sz="2000" dirty="0"/>
              <a:t>VÝSLEDKY VÝSKUMU VEREJNEJ MIENKY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639BC137-7C9D-4CB1-B9C5-E3138735E9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380" y="512311"/>
            <a:ext cx="10497333" cy="2475348"/>
          </a:xfrm>
        </p:spPr>
        <p:txBody>
          <a:bodyPr vert="horz">
            <a:normAutofit/>
          </a:bodyPr>
          <a:lstStyle/>
          <a:p>
            <a:r>
              <a:rPr kumimoji="0" lang="cs-CZ" sz="4400" b="1" i="0" u="none" strike="noStrike" kern="1200" cap="all" spc="-2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+mj-cs"/>
              </a:rPr>
              <a:t>VNíMANIE</a:t>
            </a:r>
            <a:r>
              <a:rPr kumimoji="0" lang="cs-CZ" sz="4400" b="1" i="0" u="none" strike="noStrike" kern="1200" cap="all" spc="-2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+mj-cs"/>
              </a:rPr>
              <a:t> </a:t>
            </a:r>
            <a:r>
              <a:rPr kumimoji="0" lang="cs-CZ" sz="4400" b="1" i="0" u="none" strike="noStrike" kern="1200" cap="all" spc="-2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+mj-cs"/>
              </a:rPr>
              <a:t>DEZINFORMáCIí</a:t>
            </a:r>
            <a:r>
              <a:rPr kumimoji="0" lang="cs-CZ" sz="4400" b="1" i="0" u="none" strike="noStrike" kern="1200" cap="all" spc="-2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+mj-cs"/>
              </a:rPr>
              <a:t> NA SLOVENSKU A V </a:t>
            </a:r>
            <a:r>
              <a:rPr kumimoji="0" lang="cs-CZ" sz="4400" b="1" i="0" u="none" strike="noStrike" kern="1200" cap="all" spc="-20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+mj-cs"/>
              </a:rPr>
              <a:t>čr</a:t>
            </a:r>
            <a:endParaRPr lang="cs-CZ" sz="4400" dirty="0"/>
          </a:p>
        </p:txBody>
      </p:sp>
      <p:sp>
        <p:nvSpPr>
          <p:cNvPr id="12" name="Espace réservé du texte 8">
            <a:extLst>
              <a:ext uri="{FF2B5EF4-FFF2-40B4-BE49-F238E27FC236}">
                <a16:creationId xmlns:a16="http://schemas.microsoft.com/office/drawing/2014/main" id="{8E96CA2C-57F9-4A37-95DF-7B126A7FE7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3372" y="4005064"/>
            <a:ext cx="7551997" cy="307777"/>
          </a:xfrm>
        </p:spPr>
        <p:txBody>
          <a:bodyPr/>
          <a:lstStyle>
            <a:lvl1pPr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cs-CZ" dirty="0"/>
              <a:t>MAREC 2023</a:t>
            </a:r>
            <a:endParaRPr lang="en-GB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D3B5466D-BAB8-460B-806E-4B4CD0E0593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5841268"/>
            <a:ext cx="2258498" cy="689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8264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97ED1E64-AC17-48D8-9EA9-3D823E7738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k-SK" b="1" dirty="0">
                <a:solidFill>
                  <a:srgbClr val="002060"/>
                </a:solidFill>
              </a:rPr>
              <a:t>METODOLOGIE A POZADÍ VÝZKUMU</a:t>
            </a:r>
          </a:p>
        </p:txBody>
      </p:sp>
      <p:sp>
        <p:nvSpPr>
          <p:cNvPr id="100" name="Obdélník 99">
            <a:extLst>
              <a:ext uri="{FF2B5EF4-FFF2-40B4-BE49-F238E27FC236}">
                <a16:creationId xmlns:a16="http://schemas.microsoft.com/office/drawing/2014/main" id="{71CE2D60-B7DF-4621-9637-FEBC9CEB361A}"/>
              </a:ext>
            </a:extLst>
          </p:cNvPr>
          <p:cNvSpPr/>
          <p:nvPr/>
        </p:nvSpPr>
        <p:spPr>
          <a:xfrm>
            <a:off x="850581" y="1639765"/>
            <a:ext cx="2720813" cy="19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2400" b="0" i="0" u="none" strike="noStrike" kern="1200" cap="none" spc="0" normalizeH="0" baseline="0" noProof="0" dirty="0" err="1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3" name="Zástupný symbol pro text 10">
            <a:extLst>
              <a:ext uri="{FF2B5EF4-FFF2-40B4-BE49-F238E27FC236}">
                <a16:creationId xmlns:a16="http://schemas.microsoft.com/office/drawing/2014/main" id="{5099E3F1-8E91-4095-AA05-1ABA94795DBF}"/>
              </a:ext>
            </a:extLst>
          </p:cNvPr>
          <p:cNvSpPr txBox="1">
            <a:spLocks/>
          </p:cNvSpPr>
          <p:nvPr/>
        </p:nvSpPr>
        <p:spPr>
          <a:xfrm>
            <a:off x="763767" y="2076790"/>
            <a:ext cx="3745097" cy="1259284"/>
          </a:xfrm>
          <a:prstGeom prst="rect">
            <a:avLst/>
          </a:prstGeom>
        </p:spPr>
        <p:txBody>
          <a:bodyPr/>
          <a:lstStyle>
            <a:lvl1pPr marL="174625" indent="-174625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0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44500" indent="-203200" algn="l" defTabSz="914400" rtl="0" eaLnBrk="1" latinLnBrk="0" hangingPunct="1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  <a:defRPr sz="18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622300" indent="-127000" algn="l" defTabSz="914400" rtl="0" eaLnBrk="1" latinLnBrk="0" hangingPunct="1">
              <a:spcBef>
                <a:spcPct val="20000"/>
              </a:spcBef>
              <a:buSzPct val="100000"/>
              <a:buFont typeface="Arial" pitchFamily="34" charset="0"/>
              <a:buNone/>
              <a:defRPr sz="18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901700" indent="-1397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257300" indent="-1397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just">
              <a:buNone/>
              <a:defRPr/>
            </a:pPr>
            <a:r>
              <a:rPr lang="sk-SK" sz="1300" dirty="0">
                <a:solidFill>
                  <a:srgbClr val="000000"/>
                </a:solidFill>
                <a:latin typeface="Arial" panose="020B0604020202020204"/>
              </a:rPr>
              <a:t>Cieľom výskumu realizovaného na Slovensku a v Českej republike v spolupráci so </a:t>
            </a:r>
            <a:r>
              <a:rPr lang="sk-SK" sz="1300" b="1" dirty="0">
                <a:solidFill>
                  <a:srgbClr val="000000"/>
                </a:solidFill>
                <a:latin typeface="Arial" panose="020B0604020202020204"/>
              </a:rPr>
              <a:t>Stredoeurópskym observatóriom digitálnych médií (CEDMO) </a:t>
            </a:r>
            <a:r>
              <a:rPr lang="sk-SK" sz="1300" dirty="0">
                <a:solidFill>
                  <a:srgbClr val="000000"/>
                </a:solidFill>
                <a:latin typeface="Arial" panose="020B0604020202020204"/>
              </a:rPr>
              <a:t>bolo zistiť </a:t>
            </a:r>
            <a:r>
              <a:rPr lang="sk-SK" sz="1300" b="1" dirty="0">
                <a:solidFill>
                  <a:srgbClr val="000000"/>
                </a:solidFill>
                <a:latin typeface="Arial" panose="020B0604020202020204"/>
              </a:rPr>
              <a:t>názory na informačnú vojnu zo strany Ruska počas dlhšieho časového obdobia.
</a:t>
            </a:r>
            <a:endParaRPr kumimoji="0" lang="sk-SK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60" name="Obdélník 159">
            <a:extLst>
              <a:ext uri="{FF2B5EF4-FFF2-40B4-BE49-F238E27FC236}">
                <a16:creationId xmlns:a16="http://schemas.microsoft.com/office/drawing/2014/main" id="{3A27E5CA-AB10-4CA0-B55F-08C14F0B60E0}"/>
              </a:ext>
            </a:extLst>
          </p:cNvPr>
          <p:cNvSpPr/>
          <p:nvPr/>
        </p:nvSpPr>
        <p:spPr>
          <a:xfrm>
            <a:off x="4813866" y="1639765"/>
            <a:ext cx="2720813" cy="19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2400" b="0" i="0" u="none" strike="noStrike" kern="1200" cap="none" spc="0" normalizeH="0" baseline="0" noProof="0" dirty="0" err="1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1" name="Zástupný symbol pro text 10">
            <a:extLst>
              <a:ext uri="{FF2B5EF4-FFF2-40B4-BE49-F238E27FC236}">
                <a16:creationId xmlns:a16="http://schemas.microsoft.com/office/drawing/2014/main" id="{D0D7C5B0-C96B-40F0-8FBC-BF0D7A5D5175}"/>
              </a:ext>
            </a:extLst>
          </p:cNvPr>
          <p:cNvSpPr txBox="1">
            <a:spLocks/>
          </p:cNvSpPr>
          <p:nvPr/>
        </p:nvSpPr>
        <p:spPr>
          <a:xfrm>
            <a:off x="4873875" y="2100802"/>
            <a:ext cx="2720813" cy="1239511"/>
          </a:xfrm>
          <a:prstGeom prst="rect">
            <a:avLst/>
          </a:prstGeom>
        </p:spPr>
        <p:txBody>
          <a:bodyPr/>
          <a:lstStyle>
            <a:lvl1pPr marL="174625" indent="-174625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0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44500" indent="-203200" algn="l" defTabSz="914400" rtl="0" eaLnBrk="1" latinLnBrk="0" hangingPunct="1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  <a:defRPr sz="18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622300" indent="-127000" algn="l" defTabSz="914400" rtl="0" eaLnBrk="1" latinLnBrk="0" hangingPunct="1">
              <a:spcBef>
                <a:spcPct val="20000"/>
              </a:spcBef>
              <a:buSzPct val="100000"/>
              <a:buFont typeface="Arial" pitchFamily="34" charset="0"/>
              <a:buNone/>
              <a:defRPr sz="18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901700" indent="-1397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257300" indent="-1397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  <a:defRPr/>
            </a:pPr>
            <a:r>
              <a:rPr lang="sk-SK" sz="1300" dirty="0">
                <a:solidFill>
                  <a:srgbClr val="000000"/>
                </a:solidFill>
                <a:latin typeface="Arial" panose="020B0604020202020204"/>
              </a:rPr>
              <a:t>CASI dopytovanie </a:t>
            </a:r>
            <a:r>
              <a:rPr lang="sk-SK" sz="1300" b="1" dirty="0">
                <a:solidFill>
                  <a:srgbClr val="000000"/>
                </a:solidFill>
                <a:latin typeface="Arial" panose="020B0604020202020204"/>
              </a:rPr>
              <a:t>pomocou online panelov </a:t>
            </a:r>
            <a:r>
              <a:rPr lang="sk-SK" sz="1300" dirty="0">
                <a:solidFill>
                  <a:srgbClr val="000000"/>
                </a:solidFill>
                <a:latin typeface="Arial" panose="020B0604020202020204"/>
              </a:rPr>
              <a:t>populacia.sk a populace.cz
</a:t>
            </a:r>
            <a:endParaRPr kumimoji="0" lang="sk-SK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71" name="Obdélník 170">
            <a:extLst>
              <a:ext uri="{FF2B5EF4-FFF2-40B4-BE49-F238E27FC236}">
                <a16:creationId xmlns:a16="http://schemas.microsoft.com/office/drawing/2014/main" id="{7F761748-AD11-4721-9657-B916F5FD492B}"/>
              </a:ext>
            </a:extLst>
          </p:cNvPr>
          <p:cNvSpPr/>
          <p:nvPr/>
        </p:nvSpPr>
        <p:spPr>
          <a:xfrm>
            <a:off x="8415298" y="1552756"/>
            <a:ext cx="2720813" cy="19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2400" b="0" i="0" u="none" strike="noStrike" kern="1200" cap="none" spc="0" normalizeH="0" baseline="0" noProof="0" dirty="0" err="1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2" name="Obdélník 171">
            <a:extLst>
              <a:ext uri="{FF2B5EF4-FFF2-40B4-BE49-F238E27FC236}">
                <a16:creationId xmlns:a16="http://schemas.microsoft.com/office/drawing/2014/main" id="{F2414230-0784-48A9-9B36-6D2C9B9F83A0}"/>
              </a:ext>
            </a:extLst>
          </p:cNvPr>
          <p:cNvSpPr/>
          <p:nvPr/>
        </p:nvSpPr>
        <p:spPr>
          <a:xfrm>
            <a:off x="860475" y="4151451"/>
            <a:ext cx="2720813" cy="19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2400" b="0" i="0" u="none" strike="noStrike" kern="1200" cap="none" spc="0" normalizeH="0" baseline="0" noProof="0" dirty="0" err="1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3" name="Obdélník 172">
            <a:extLst>
              <a:ext uri="{FF2B5EF4-FFF2-40B4-BE49-F238E27FC236}">
                <a16:creationId xmlns:a16="http://schemas.microsoft.com/office/drawing/2014/main" id="{6FAD40F8-941A-46DC-9291-86411E243369}"/>
              </a:ext>
            </a:extLst>
          </p:cNvPr>
          <p:cNvSpPr/>
          <p:nvPr/>
        </p:nvSpPr>
        <p:spPr>
          <a:xfrm>
            <a:off x="8353469" y="4206299"/>
            <a:ext cx="2720813" cy="19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2400" b="0" i="0" u="none" strike="noStrike" kern="1200" cap="none" spc="0" normalizeH="0" baseline="0" noProof="0" dirty="0" err="1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4" name="Zástupný symbol pro text 10">
            <a:extLst>
              <a:ext uri="{FF2B5EF4-FFF2-40B4-BE49-F238E27FC236}">
                <a16:creationId xmlns:a16="http://schemas.microsoft.com/office/drawing/2014/main" id="{542FB17D-6635-470D-BF1B-26E90BBC2333}"/>
              </a:ext>
            </a:extLst>
          </p:cNvPr>
          <p:cNvSpPr txBox="1">
            <a:spLocks/>
          </p:cNvSpPr>
          <p:nvPr/>
        </p:nvSpPr>
        <p:spPr>
          <a:xfrm>
            <a:off x="8430212" y="2012550"/>
            <a:ext cx="2998021" cy="1257923"/>
          </a:xfrm>
          <a:prstGeom prst="rect">
            <a:avLst/>
          </a:prstGeom>
        </p:spPr>
        <p:txBody>
          <a:bodyPr/>
          <a:lstStyle>
            <a:lvl1pPr marL="174625" indent="-174625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0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44500" indent="-203200" algn="l" defTabSz="914400" rtl="0" eaLnBrk="1" latinLnBrk="0" hangingPunct="1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  <a:defRPr sz="18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622300" indent="-127000" algn="l" defTabSz="914400" rtl="0" eaLnBrk="1" latinLnBrk="0" hangingPunct="1">
              <a:spcBef>
                <a:spcPct val="20000"/>
              </a:spcBef>
              <a:buSzPct val="100000"/>
              <a:buFont typeface="Arial" pitchFamily="34" charset="0"/>
              <a:buNone/>
              <a:defRPr sz="18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901700" indent="-1397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257300" indent="-1397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just">
              <a:buNone/>
              <a:defRPr/>
            </a:pPr>
            <a:r>
              <a:rPr lang="sk-SK" sz="1300" b="1" dirty="0">
                <a:solidFill>
                  <a:srgbClr val="000000"/>
                </a:solidFill>
                <a:latin typeface="Arial" panose="020B0604020202020204"/>
              </a:rPr>
              <a:t>Reprezentatívna vzorka </a:t>
            </a:r>
            <a:r>
              <a:rPr lang="sk-SK" sz="1300" dirty="0">
                <a:solidFill>
                  <a:srgbClr val="000000"/>
                </a:solidFill>
                <a:latin typeface="Arial" panose="020B0604020202020204"/>
              </a:rPr>
              <a:t>obyvateľov oboch krajín starších ako 18 rokov (výber kvót podľa pohlavia, veku, regiónu, veľkosti sídla a vzdelania</a:t>
            </a:r>
            <a:r>
              <a:rPr lang="sk-SK" sz="1300" b="1" dirty="0">
                <a:solidFill>
                  <a:srgbClr val="000000"/>
                </a:solidFill>
                <a:latin typeface="Arial" panose="020B0604020202020204"/>
              </a:rPr>
              <a:t>)
</a:t>
            </a:r>
            <a:endParaRPr lang="sk-SK" sz="1300" dirty="0">
              <a:solidFill>
                <a:srgbClr val="000000"/>
              </a:solidFill>
              <a:latin typeface="Arial" panose="020B0604020202020204"/>
            </a:endParaRPr>
          </a:p>
          <a:p>
            <a:pPr marL="0" indent="0" algn="just">
              <a:buNone/>
              <a:defRPr/>
            </a:pPr>
            <a:r>
              <a:rPr lang="sk-SK" sz="1300" dirty="0">
                <a:solidFill>
                  <a:srgbClr val="000000"/>
                </a:solidFill>
                <a:latin typeface="Arial" panose="020B0604020202020204"/>
              </a:rPr>
              <a:t>SR n=1017</a:t>
            </a:r>
          </a:p>
          <a:p>
            <a:pPr marL="0" lvl="0" indent="0" algn="just">
              <a:buNone/>
              <a:defRPr/>
            </a:pPr>
            <a:r>
              <a:rPr lang="sk-SK" sz="1300" dirty="0">
                <a:solidFill>
                  <a:srgbClr val="000000"/>
                </a:solidFill>
                <a:latin typeface="Arial" panose="020B0604020202020204"/>
              </a:rPr>
              <a:t>ČR n=1038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lang="sk-SK" sz="1300" dirty="0">
              <a:solidFill>
                <a:srgbClr val="000000"/>
              </a:solidFill>
              <a:latin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sk-SK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86" name="Zástupný symbol pro text 10">
            <a:extLst>
              <a:ext uri="{FF2B5EF4-FFF2-40B4-BE49-F238E27FC236}">
                <a16:creationId xmlns:a16="http://schemas.microsoft.com/office/drawing/2014/main" id="{EDA91D2C-BFF0-4384-A28C-E8899533D60A}"/>
              </a:ext>
            </a:extLst>
          </p:cNvPr>
          <p:cNvSpPr txBox="1">
            <a:spLocks/>
          </p:cNvSpPr>
          <p:nvPr/>
        </p:nvSpPr>
        <p:spPr>
          <a:xfrm>
            <a:off x="819935" y="4769046"/>
            <a:ext cx="2720813" cy="960000"/>
          </a:xfrm>
          <a:prstGeom prst="rect">
            <a:avLst/>
          </a:prstGeom>
        </p:spPr>
        <p:txBody>
          <a:bodyPr/>
          <a:lstStyle>
            <a:lvl1pPr marL="174625" indent="-174625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0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44500" indent="-203200" algn="l" defTabSz="914400" rtl="0" eaLnBrk="1" latinLnBrk="0" hangingPunct="1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  <a:defRPr sz="18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622300" indent="-127000" algn="l" defTabSz="914400" rtl="0" eaLnBrk="1" latinLnBrk="0" hangingPunct="1">
              <a:spcBef>
                <a:spcPct val="20000"/>
              </a:spcBef>
              <a:buSzPct val="100000"/>
              <a:buFont typeface="Arial" pitchFamily="34" charset="0"/>
              <a:buNone/>
              <a:defRPr sz="18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901700" indent="-1397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257300" indent="-1397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  <a:defRPr/>
            </a:pPr>
            <a:r>
              <a:rPr lang="sk-SK" sz="1300" b="1" dirty="0" err="1">
                <a:solidFill>
                  <a:srgbClr val="000000"/>
                </a:solidFill>
                <a:latin typeface="Arial" panose="020B0604020202020204"/>
              </a:rPr>
              <a:t>Štruktúrovaný</a:t>
            </a:r>
            <a:r>
              <a:rPr lang="sk-SK" sz="1300" b="1" dirty="0">
                <a:solidFill>
                  <a:srgbClr val="000000"/>
                </a:solidFill>
                <a:latin typeface="Arial" panose="020B0604020202020204"/>
              </a:rPr>
              <a:t> dotazník </a:t>
            </a:r>
            <a:r>
              <a:rPr lang="sk-SK" sz="1300" b="1" dirty="0" err="1">
                <a:solidFill>
                  <a:srgbClr val="000000"/>
                </a:solidFill>
                <a:latin typeface="Arial" panose="020B0604020202020204"/>
              </a:rPr>
              <a:t>trvajúci</a:t>
            </a:r>
            <a:r>
              <a:rPr lang="sk-SK" sz="1300" b="1" dirty="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sk-SK" sz="1300" b="1" dirty="0" err="1">
                <a:solidFill>
                  <a:srgbClr val="000000"/>
                </a:solidFill>
                <a:latin typeface="Arial" panose="020B0604020202020204"/>
              </a:rPr>
              <a:t>približne</a:t>
            </a:r>
            <a:r>
              <a:rPr lang="sk-SK" sz="1300" b="1" dirty="0">
                <a:solidFill>
                  <a:srgbClr val="000000"/>
                </a:solidFill>
                <a:latin typeface="Arial" panose="020B0604020202020204"/>
              </a:rPr>
              <a:t> 2 </a:t>
            </a:r>
            <a:r>
              <a:rPr lang="sk-SK" sz="1300" b="1" dirty="0" err="1">
                <a:solidFill>
                  <a:srgbClr val="000000"/>
                </a:solidFill>
                <a:latin typeface="Arial" panose="020B0604020202020204"/>
              </a:rPr>
              <a:t>minúty</a:t>
            </a:r>
            <a:r>
              <a:rPr lang="sk-SK" sz="1300" b="1" dirty="0">
                <a:solidFill>
                  <a:srgbClr val="000000"/>
                </a:solidFill>
                <a:latin typeface="Arial" panose="020B0604020202020204"/>
              </a:rPr>
              <a:t>.</a:t>
            </a:r>
            <a:br>
              <a:rPr lang="sk-SK" sz="1300" b="1" dirty="0">
                <a:solidFill>
                  <a:srgbClr val="000000"/>
                </a:solidFill>
                <a:latin typeface="Arial" panose="020B0604020202020204"/>
              </a:rPr>
            </a:br>
            <a:r>
              <a:rPr lang="sk-SK" sz="1300" b="1" dirty="0">
                <a:solidFill>
                  <a:srgbClr val="000000"/>
                </a:solidFill>
                <a:latin typeface="Arial" panose="020B0604020202020204"/>
              </a:rPr>
              <a:t>
</a:t>
            </a:r>
            <a:endParaRPr kumimoji="0" lang="sk-SK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grpSp>
        <p:nvGrpSpPr>
          <p:cNvPr id="188" name="Group 44">
            <a:extLst>
              <a:ext uri="{FF2B5EF4-FFF2-40B4-BE49-F238E27FC236}">
                <a16:creationId xmlns:a16="http://schemas.microsoft.com/office/drawing/2014/main" id="{3825F147-4BDE-4E21-A651-CD6BA2D7E65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76838" y="3904713"/>
            <a:ext cx="425450" cy="575370"/>
            <a:chOff x="2996" y="2490"/>
            <a:chExt cx="268" cy="359"/>
          </a:xfrm>
        </p:grpSpPr>
        <p:sp>
          <p:nvSpPr>
            <p:cNvPr id="189" name="Freeform 45">
              <a:extLst>
                <a:ext uri="{FF2B5EF4-FFF2-40B4-BE49-F238E27FC236}">
                  <a16:creationId xmlns:a16="http://schemas.microsoft.com/office/drawing/2014/main" id="{355E0E37-3623-43AE-86B8-1E24CB6A0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9" y="2490"/>
              <a:ext cx="142" cy="47"/>
            </a:xfrm>
            <a:custGeom>
              <a:avLst/>
              <a:gdLst>
                <a:gd name="T0" fmla="*/ 36 w 36"/>
                <a:gd name="T1" fmla="*/ 12 h 12"/>
                <a:gd name="T2" fmla="*/ 0 w 36"/>
                <a:gd name="T3" fmla="*/ 12 h 12"/>
                <a:gd name="T4" fmla="*/ 0 w 36"/>
                <a:gd name="T5" fmla="*/ 8 h 12"/>
                <a:gd name="T6" fmla="*/ 8 w 36"/>
                <a:gd name="T7" fmla="*/ 0 h 12"/>
                <a:gd name="T8" fmla="*/ 28 w 36"/>
                <a:gd name="T9" fmla="*/ 0 h 12"/>
                <a:gd name="T10" fmla="*/ 36 w 36"/>
                <a:gd name="T11" fmla="*/ 8 h 12"/>
                <a:gd name="T12" fmla="*/ 36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6" y="1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2" y="0"/>
                    <a:pt x="36" y="4"/>
                    <a:pt x="36" y="8"/>
                  </a:cubicBezTo>
                  <a:lnTo>
                    <a:pt x="36" y="12"/>
                  </a:ln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" name="Freeform 46">
              <a:extLst>
                <a:ext uri="{FF2B5EF4-FFF2-40B4-BE49-F238E27FC236}">
                  <a16:creationId xmlns:a16="http://schemas.microsoft.com/office/drawing/2014/main" id="{CDA36BE9-352A-4AED-A1A1-8AD184C3DA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6" y="2521"/>
              <a:ext cx="268" cy="328"/>
            </a:xfrm>
            <a:custGeom>
              <a:avLst/>
              <a:gdLst>
                <a:gd name="T0" fmla="*/ 237 w 268"/>
                <a:gd name="T1" fmla="*/ 0 h 328"/>
                <a:gd name="T2" fmla="*/ 268 w 268"/>
                <a:gd name="T3" fmla="*/ 0 h 328"/>
                <a:gd name="T4" fmla="*/ 268 w 268"/>
                <a:gd name="T5" fmla="*/ 328 h 328"/>
                <a:gd name="T6" fmla="*/ 0 w 268"/>
                <a:gd name="T7" fmla="*/ 328 h 328"/>
                <a:gd name="T8" fmla="*/ 0 w 268"/>
                <a:gd name="T9" fmla="*/ 0 h 328"/>
                <a:gd name="T10" fmla="*/ 32 w 268"/>
                <a:gd name="T11" fmla="*/ 0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" h="328">
                  <a:moveTo>
                    <a:pt x="237" y="0"/>
                  </a:moveTo>
                  <a:lnTo>
                    <a:pt x="268" y="0"/>
                  </a:lnTo>
                  <a:lnTo>
                    <a:pt x="268" y="328"/>
                  </a:lnTo>
                  <a:lnTo>
                    <a:pt x="0" y="328"/>
                  </a:lnTo>
                  <a:lnTo>
                    <a:pt x="0" y="0"/>
                  </a:lnTo>
                  <a:lnTo>
                    <a:pt x="32" y="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" name="Freeform 47">
              <a:extLst>
                <a:ext uri="{FF2B5EF4-FFF2-40B4-BE49-F238E27FC236}">
                  <a16:creationId xmlns:a16="http://schemas.microsoft.com/office/drawing/2014/main" id="{2839820F-B890-4261-AEAD-DBC0773C62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8" y="2615"/>
              <a:ext cx="78" cy="47"/>
            </a:xfrm>
            <a:custGeom>
              <a:avLst/>
              <a:gdLst>
                <a:gd name="T0" fmla="*/ 0 w 78"/>
                <a:gd name="T1" fmla="*/ 15 h 47"/>
                <a:gd name="T2" fmla="*/ 31 w 78"/>
                <a:gd name="T3" fmla="*/ 47 h 47"/>
                <a:gd name="T4" fmla="*/ 78 w 78"/>
                <a:gd name="T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8" h="47">
                  <a:moveTo>
                    <a:pt x="0" y="15"/>
                  </a:moveTo>
                  <a:lnTo>
                    <a:pt x="31" y="47"/>
                  </a:lnTo>
                  <a:lnTo>
                    <a:pt x="78" y="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Line 48">
              <a:extLst>
                <a:ext uri="{FF2B5EF4-FFF2-40B4-BE49-F238E27FC236}">
                  <a16:creationId xmlns:a16="http://schemas.microsoft.com/office/drawing/2014/main" id="{DDA789AD-0EA4-4208-9D05-03556FB661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54" y="2646"/>
              <a:ext cx="63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3" name="Freeform 49">
              <a:extLst>
                <a:ext uri="{FF2B5EF4-FFF2-40B4-BE49-F238E27FC236}">
                  <a16:creationId xmlns:a16="http://schemas.microsoft.com/office/drawing/2014/main" id="{DBF092D6-B5C6-435E-B027-A808431883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8" y="2709"/>
              <a:ext cx="78" cy="46"/>
            </a:xfrm>
            <a:custGeom>
              <a:avLst/>
              <a:gdLst>
                <a:gd name="T0" fmla="*/ 0 w 78"/>
                <a:gd name="T1" fmla="*/ 15 h 46"/>
                <a:gd name="T2" fmla="*/ 31 w 78"/>
                <a:gd name="T3" fmla="*/ 46 h 46"/>
                <a:gd name="T4" fmla="*/ 78 w 78"/>
                <a:gd name="T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8" h="46">
                  <a:moveTo>
                    <a:pt x="0" y="15"/>
                  </a:moveTo>
                  <a:lnTo>
                    <a:pt x="31" y="46"/>
                  </a:lnTo>
                  <a:lnTo>
                    <a:pt x="78" y="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4" name="Line 50">
              <a:extLst>
                <a:ext uri="{FF2B5EF4-FFF2-40B4-BE49-F238E27FC236}">
                  <a16:creationId xmlns:a16="http://schemas.microsoft.com/office/drawing/2014/main" id="{CEED1DE4-8CCB-48F5-8369-6EF8334DED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54" y="2740"/>
              <a:ext cx="63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5" name="Zástupný symbol pro text 10">
            <a:extLst>
              <a:ext uri="{FF2B5EF4-FFF2-40B4-BE49-F238E27FC236}">
                <a16:creationId xmlns:a16="http://schemas.microsoft.com/office/drawing/2014/main" id="{7746DDE0-C42D-476A-9B75-9C366FBEF041}"/>
              </a:ext>
            </a:extLst>
          </p:cNvPr>
          <p:cNvSpPr txBox="1">
            <a:spLocks/>
          </p:cNvSpPr>
          <p:nvPr/>
        </p:nvSpPr>
        <p:spPr>
          <a:xfrm>
            <a:off x="4923359" y="4798392"/>
            <a:ext cx="2720813" cy="960000"/>
          </a:xfrm>
          <a:prstGeom prst="rect">
            <a:avLst/>
          </a:prstGeom>
        </p:spPr>
        <p:txBody>
          <a:bodyPr/>
          <a:lstStyle>
            <a:lvl1pPr marL="174625" indent="-174625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0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44500" indent="-203200" algn="l" defTabSz="914400" rtl="0" eaLnBrk="1" latinLnBrk="0" hangingPunct="1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  <a:defRPr sz="18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622300" indent="-127000" algn="l" defTabSz="914400" rtl="0" eaLnBrk="1" latinLnBrk="0" hangingPunct="1">
              <a:spcBef>
                <a:spcPct val="20000"/>
              </a:spcBef>
              <a:buSzPct val="100000"/>
              <a:buFont typeface="Arial" pitchFamily="34" charset="0"/>
              <a:buNone/>
              <a:defRPr sz="18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901700" indent="-1397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257300" indent="-1397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  <a:defRPr/>
            </a:pPr>
            <a:r>
              <a:rPr lang="sk-SK" sz="1300" b="1" dirty="0" err="1">
                <a:solidFill>
                  <a:srgbClr val="000000">
                    <a:lumMod val="95000"/>
                    <a:lumOff val="5000"/>
                  </a:srgbClr>
                </a:solidFill>
                <a:latin typeface="Arial" panose="020B0604020202020204"/>
              </a:rPr>
              <a:t>Zber</a:t>
            </a:r>
            <a:r>
              <a:rPr lang="sk-SK" sz="1300" b="1" dirty="0">
                <a:solidFill>
                  <a:srgbClr val="000000">
                    <a:lumMod val="95000"/>
                    <a:lumOff val="5000"/>
                  </a:srgbClr>
                </a:solidFill>
                <a:latin typeface="Arial" panose="020B0604020202020204"/>
              </a:rPr>
              <a:t> </a:t>
            </a:r>
            <a:r>
              <a:rPr lang="sk-SK" sz="1300" b="1" dirty="0" err="1">
                <a:solidFill>
                  <a:srgbClr val="000000">
                    <a:lumMod val="95000"/>
                    <a:lumOff val="5000"/>
                  </a:srgbClr>
                </a:solidFill>
                <a:latin typeface="Arial" panose="020B0604020202020204"/>
              </a:rPr>
              <a:t>údajov</a:t>
            </a:r>
            <a:r>
              <a:rPr lang="sk-SK" sz="1300" b="1" dirty="0">
                <a:solidFill>
                  <a:srgbClr val="000000">
                    <a:lumMod val="95000"/>
                    <a:lumOff val="5000"/>
                  </a:srgbClr>
                </a:solidFill>
                <a:latin typeface="Arial" panose="020B0604020202020204"/>
              </a:rPr>
              <a:t> </a:t>
            </a:r>
            <a:r>
              <a:rPr lang="sk-SK" sz="1300" b="1" dirty="0" err="1">
                <a:solidFill>
                  <a:srgbClr val="000000">
                    <a:lumMod val="95000"/>
                    <a:lumOff val="5000"/>
                  </a:srgbClr>
                </a:solidFill>
                <a:latin typeface="Arial" panose="020B0604020202020204"/>
              </a:rPr>
              <a:t>sa</a:t>
            </a:r>
            <a:r>
              <a:rPr lang="sk-SK" sz="1300" b="1" dirty="0">
                <a:solidFill>
                  <a:srgbClr val="000000">
                    <a:lumMod val="95000"/>
                    <a:lumOff val="5000"/>
                  </a:srgbClr>
                </a:solidFill>
                <a:latin typeface="Arial" panose="020B0604020202020204"/>
              </a:rPr>
              <a:t> </a:t>
            </a:r>
            <a:r>
              <a:rPr lang="sk-SK" sz="1300" b="1" dirty="0" err="1">
                <a:solidFill>
                  <a:srgbClr val="000000">
                    <a:lumMod val="95000"/>
                    <a:lumOff val="5000"/>
                  </a:srgbClr>
                </a:solidFill>
                <a:latin typeface="Arial" panose="020B0604020202020204"/>
              </a:rPr>
              <a:t>uskutočnil</a:t>
            </a:r>
            <a:r>
              <a:rPr lang="sk-SK" sz="1300" b="1" dirty="0">
                <a:solidFill>
                  <a:srgbClr val="000000">
                    <a:lumMod val="95000"/>
                    <a:lumOff val="5000"/>
                  </a:srgbClr>
                </a:solidFill>
                <a:latin typeface="Arial" panose="020B0604020202020204"/>
              </a:rPr>
              <a:t>  </a:t>
            </a:r>
            <a:r>
              <a:rPr lang="sk-SK" sz="1300" dirty="0">
                <a:solidFill>
                  <a:srgbClr val="000000">
                    <a:lumMod val="95000"/>
                    <a:lumOff val="5000"/>
                  </a:srgbClr>
                </a:solidFill>
                <a:latin typeface="Arial" panose="020B0604020202020204"/>
              </a:rPr>
              <a:t>
7.3. až 9.3.2023 na Slovensku a
9.3. do 13.3.2023 v </a:t>
            </a:r>
            <a:r>
              <a:rPr lang="sk-SK" sz="1300" dirty="0" err="1">
                <a:solidFill>
                  <a:srgbClr val="000000">
                    <a:lumMod val="95000"/>
                    <a:lumOff val="5000"/>
                  </a:srgbClr>
                </a:solidFill>
                <a:latin typeface="Arial" panose="020B0604020202020204"/>
              </a:rPr>
              <a:t>Českej</a:t>
            </a:r>
            <a:r>
              <a:rPr lang="sk-SK" sz="1300" dirty="0">
                <a:solidFill>
                  <a:srgbClr val="000000">
                    <a:lumMod val="95000"/>
                    <a:lumOff val="5000"/>
                  </a:srgbClr>
                </a:solidFill>
                <a:latin typeface="Arial" panose="020B0604020202020204"/>
              </a:rPr>
              <a:t> </a:t>
            </a:r>
            <a:r>
              <a:rPr lang="sk-SK" sz="1300" dirty="0" err="1">
                <a:solidFill>
                  <a:srgbClr val="000000">
                    <a:lumMod val="95000"/>
                    <a:lumOff val="5000"/>
                  </a:srgbClr>
                </a:solidFill>
                <a:latin typeface="Arial" panose="020B0604020202020204"/>
              </a:rPr>
              <a:t>republike</a:t>
            </a:r>
            <a:r>
              <a:rPr lang="sk-SK" sz="1300" dirty="0">
                <a:solidFill>
                  <a:srgbClr val="000000">
                    <a:lumMod val="95000"/>
                    <a:lumOff val="5000"/>
                  </a:srgbClr>
                </a:solidFill>
                <a:latin typeface="Arial" panose="020B0604020202020204"/>
              </a:rPr>
              <a:t>
</a:t>
            </a:r>
            <a:endParaRPr kumimoji="0" lang="sk-SK" sz="1300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Arial" panose="020B0604020202020204"/>
            </a:endParaRPr>
          </a:p>
        </p:txBody>
      </p:sp>
      <p:grpSp>
        <p:nvGrpSpPr>
          <p:cNvPr id="197" name="Group 19">
            <a:extLst>
              <a:ext uri="{FF2B5EF4-FFF2-40B4-BE49-F238E27FC236}">
                <a16:creationId xmlns:a16="http://schemas.microsoft.com/office/drawing/2014/main" id="{A4B920D6-C6EA-40A3-9397-D333A549C57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06195" y="3953947"/>
            <a:ext cx="512468" cy="520155"/>
            <a:chOff x="5448" y="2047"/>
            <a:chExt cx="357" cy="358"/>
          </a:xfrm>
        </p:grpSpPr>
        <p:sp>
          <p:nvSpPr>
            <p:cNvPr id="198" name="Freeform 20">
              <a:extLst>
                <a:ext uri="{FF2B5EF4-FFF2-40B4-BE49-F238E27FC236}">
                  <a16:creationId xmlns:a16="http://schemas.microsoft.com/office/drawing/2014/main" id="{84FC28DD-3653-4EC4-A1AE-8DC068EA8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1" y="2218"/>
              <a:ext cx="78" cy="125"/>
            </a:xfrm>
            <a:custGeom>
              <a:avLst/>
              <a:gdLst>
                <a:gd name="T0" fmla="*/ 0 w 20"/>
                <a:gd name="T1" fmla="*/ 24 h 32"/>
                <a:gd name="T2" fmla="*/ 0 w 20"/>
                <a:gd name="T3" fmla="*/ 24 h 32"/>
                <a:gd name="T4" fmla="*/ 8 w 20"/>
                <a:gd name="T5" fmla="*/ 32 h 32"/>
                <a:gd name="T6" fmla="*/ 12 w 20"/>
                <a:gd name="T7" fmla="*/ 32 h 32"/>
                <a:gd name="T8" fmla="*/ 20 w 20"/>
                <a:gd name="T9" fmla="*/ 24 h 32"/>
                <a:gd name="T10" fmla="*/ 20 w 20"/>
                <a:gd name="T11" fmla="*/ 24 h 32"/>
                <a:gd name="T12" fmla="*/ 20 w 20"/>
                <a:gd name="T13" fmla="*/ 24 h 32"/>
                <a:gd name="T14" fmla="*/ 12 w 20"/>
                <a:gd name="T15" fmla="*/ 16 h 32"/>
                <a:gd name="T16" fmla="*/ 8 w 20"/>
                <a:gd name="T17" fmla="*/ 16 h 32"/>
                <a:gd name="T18" fmla="*/ 12 w 20"/>
                <a:gd name="T19" fmla="*/ 16 h 32"/>
                <a:gd name="T20" fmla="*/ 20 w 20"/>
                <a:gd name="T21" fmla="*/ 8 h 32"/>
                <a:gd name="T22" fmla="*/ 20 w 20"/>
                <a:gd name="T23" fmla="*/ 8 h 32"/>
                <a:gd name="T24" fmla="*/ 20 w 20"/>
                <a:gd name="T25" fmla="*/ 8 h 32"/>
                <a:gd name="T26" fmla="*/ 12 w 20"/>
                <a:gd name="T27" fmla="*/ 0 h 32"/>
                <a:gd name="T28" fmla="*/ 8 w 20"/>
                <a:gd name="T29" fmla="*/ 0 h 32"/>
                <a:gd name="T30" fmla="*/ 0 w 20"/>
                <a:gd name="T31" fmla="*/ 8 h 32"/>
                <a:gd name="T32" fmla="*/ 0 w 20"/>
                <a:gd name="T33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32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8"/>
                    <a:pt x="4" y="32"/>
                    <a:pt x="8" y="32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6" y="32"/>
                    <a:pt x="20" y="28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0"/>
                    <a:pt x="16" y="16"/>
                    <a:pt x="12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6" y="16"/>
                    <a:pt x="20" y="12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4"/>
                    <a:pt x="16" y="0"/>
                    <a:pt x="1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grpFill/>
            <a:ln w="19050" cap="rnd">
              <a:solidFill>
                <a:srgbClr val="00767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9" name="Freeform 21">
              <a:extLst>
                <a:ext uri="{FF2B5EF4-FFF2-40B4-BE49-F238E27FC236}">
                  <a16:creationId xmlns:a16="http://schemas.microsoft.com/office/drawing/2014/main" id="{8D239727-65AA-4302-BD44-0DB6DDE756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8" y="2094"/>
              <a:ext cx="357" cy="311"/>
            </a:xfrm>
            <a:custGeom>
              <a:avLst/>
              <a:gdLst>
                <a:gd name="T0" fmla="*/ 88 w 92"/>
                <a:gd name="T1" fmla="*/ 80 h 80"/>
                <a:gd name="T2" fmla="*/ 4 w 92"/>
                <a:gd name="T3" fmla="*/ 80 h 80"/>
                <a:gd name="T4" fmla="*/ 0 w 92"/>
                <a:gd name="T5" fmla="*/ 76 h 80"/>
                <a:gd name="T6" fmla="*/ 0 w 92"/>
                <a:gd name="T7" fmla="*/ 4 h 80"/>
                <a:gd name="T8" fmla="*/ 4 w 92"/>
                <a:gd name="T9" fmla="*/ 0 h 80"/>
                <a:gd name="T10" fmla="*/ 88 w 92"/>
                <a:gd name="T11" fmla="*/ 0 h 80"/>
                <a:gd name="T12" fmla="*/ 92 w 92"/>
                <a:gd name="T13" fmla="*/ 4 h 80"/>
                <a:gd name="T14" fmla="*/ 92 w 92"/>
                <a:gd name="T15" fmla="*/ 76 h 80"/>
                <a:gd name="T16" fmla="*/ 88 w 92"/>
                <a:gd name="T1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80">
                  <a:moveTo>
                    <a:pt x="88" y="80"/>
                  </a:moveTo>
                  <a:cubicBezTo>
                    <a:pt x="4" y="80"/>
                    <a:pt x="4" y="80"/>
                    <a:pt x="4" y="80"/>
                  </a:cubicBezTo>
                  <a:cubicBezTo>
                    <a:pt x="2" y="80"/>
                    <a:pt x="0" y="78"/>
                    <a:pt x="0" y="7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0" y="0"/>
                    <a:pt x="92" y="2"/>
                    <a:pt x="92" y="4"/>
                  </a:cubicBezTo>
                  <a:cubicBezTo>
                    <a:pt x="92" y="76"/>
                    <a:pt x="92" y="76"/>
                    <a:pt x="92" y="76"/>
                  </a:cubicBezTo>
                  <a:cubicBezTo>
                    <a:pt x="92" y="78"/>
                    <a:pt x="90" y="80"/>
                    <a:pt x="88" y="80"/>
                  </a:cubicBezTo>
                  <a:close/>
                </a:path>
              </a:pathLst>
            </a:custGeom>
            <a:grpFill/>
            <a:ln w="19050" cap="rnd">
              <a:solidFill>
                <a:srgbClr val="00767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0" name="Line 22">
              <a:extLst>
                <a:ext uri="{FF2B5EF4-FFF2-40B4-BE49-F238E27FC236}">
                  <a16:creationId xmlns:a16="http://schemas.microsoft.com/office/drawing/2014/main" id="{A817BAF0-D8AF-455E-93A2-9C3A21186D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48" y="2172"/>
              <a:ext cx="357" cy="0"/>
            </a:xfrm>
            <a:prstGeom prst="line">
              <a:avLst/>
            </a:prstGeom>
            <a:grpFill/>
            <a:ln w="19050" cap="rnd">
              <a:solidFill>
                <a:srgbClr val="00767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1" name="Line 23">
              <a:extLst>
                <a:ext uri="{FF2B5EF4-FFF2-40B4-BE49-F238E27FC236}">
                  <a16:creationId xmlns:a16="http://schemas.microsoft.com/office/drawing/2014/main" id="{AE4A5402-CE9A-4D85-AEAD-1DF786E872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3" y="2047"/>
              <a:ext cx="0" cy="78"/>
            </a:xfrm>
            <a:prstGeom prst="line">
              <a:avLst/>
            </a:prstGeom>
            <a:grpFill/>
            <a:ln w="19050" cap="rnd">
              <a:solidFill>
                <a:srgbClr val="00767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2" name="Line 24">
              <a:extLst>
                <a:ext uri="{FF2B5EF4-FFF2-40B4-BE49-F238E27FC236}">
                  <a16:creationId xmlns:a16="http://schemas.microsoft.com/office/drawing/2014/main" id="{5B294CC1-49AB-435B-8E11-BE36DF3E8D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0" y="2047"/>
              <a:ext cx="0" cy="78"/>
            </a:xfrm>
            <a:prstGeom prst="line">
              <a:avLst/>
            </a:prstGeom>
            <a:grpFill/>
            <a:ln w="19050" cap="rnd">
              <a:solidFill>
                <a:srgbClr val="00767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3" name="Freeform 25">
              <a:extLst>
                <a:ext uri="{FF2B5EF4-FFF2-40B4-BE49-F238E27FC236}">
                  <a16:creationId xmlns:a16="http://schemas.microsoft.com/office/drawing/2014/main" id="{3DB81FB1-8334-474E-A7FF-F52762AAA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5" y="2218"/>
              <a:ext cx="31" cy="125"/>
            </a:xfrm>
            <a:custGeom>
              <a:avLst/>
              <a:gdLst>
                <a:gd name="T0" fmla="*/ 31 w 31"/>
                <a:gd name="T1" fmla="*/ 125 h 125"/>
                <a:gd name="T2" fmla="*/ 31 w 31"/>
                <a:gd name="T3" fmla="*/ 0 h 125"/>
                <a:gd name="T4" fmla="*/ 0 w 31"/>
                <a:gd name="T5" fmla="*/ 31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125">
                  <a:moveTo>
                    <a:pt x="31" y="125"/>
                  </a:moveTo>
                  <a:lnTo>
                    <a:pt x="31" y="0"/>
                  </a:lnTo>
                  <a:lnTo>
                    <a:pt x="0" y="31"/>
                  </a:lnTo>
                </a:path>
              </a:pathLst>
            </a:custGeom>
            <a:grpFill/>
            <a:ln w="19050" cap="rnd">
              <a:solidFill>
                <a:srgbClr val="00767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07" name="Zástupný symbol pro text 10">
            <a:extLst>
              <a:ext uri="{FF2B5EF4-FFF2-40B4-BE49-F238E27FC236}">
                <a16:creationId xmlns:a16="http://schemas.microsoft.com/office/drawing/2014/main" id="{0708ABB6-B5DA-4D78-9A81-CFA54D0AE986}"/>
              </a:ext>
            </a:extLst>
          </p:cNvPr>
          <p:cNvSpPr txBox="1">
            <a:spLocks/>
          </p:cNvSpPr>
          <p:nvPr/>
        </p:nvSpPr>
        <p:spPr>
          <a:xfrm>
            <a:off x="8457894" y="4687238"/>
            <a:ext cx="2908295" cy="1319278"/>
          </a:xfrm>
          <a:prstGeom prst="rect">
            <a:avLst/>
          </a:prstGeom>
        </p:spPr>
        <p:txBody>
          <a:bodyPr/>
          <a:lstStyle>
            <a:lvl1pPr marL="174625" indent="-174625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0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44500" indent="-203200" algn="l" defTabSz="914400" rtl="0" eaLnBrk="1" latinLnBrk="0" hangingPunct="1">
              <a:spcBef>
                <a:spcPct val="20000"/>
              </a:spcBef>
              <a:buSzPct val="100000"/>
              <a:buFont typeface="Wingdings" panose="05000000000000000000" pitchFamily="2" charset="2"/>
              <a:buChar char="§"/>
              <a:defRPr sz="18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622300" indent="-127000" algn="l" defTabSz="914400" rtl="0" eaLnBrk="1" latinLnBrk="0" hangingPunct="1">
              <a:spcBef>
                <a:spcPct val="20000"/>
              </a:spcBef>
              <a:buSzPct val="100000"/>
              <a:buFont typeface="Arial" pitchFamily="34" charset="0"/>
              <a:buNone/>
              <a:defRPr sz="18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901700" indent="-1397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257300" indent="-1397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rgbClr val="404040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sk-SK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Jakub Hankovský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sk-SK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Managin</a:t>
            </a:r>
            <a:r>
              <a:rPr lang="sk-SK" sz="1300" dirty="0">
                <a:solidFill>
                  <a:srgbClr val="000000"/>
                </a:solidFill>
                <a:latin typeface="Arial" panose="020B0604020202020204"/>
              </a:rPr>
              <a:t>g </a:t>
            </a:r>
            <a:r>
              <a:rPr lang="sk-SK" sz="1300" dirty="0" err="1">
                <a:solidFill>
                  <a:srgbClr val="000000"/>
                </a:solidFill>
                <a:latin typeface="Arial" panose="020B0604020202020204"/>
              </a:rPr>
              <a:t>Director</a:t>
            </a:r>
            <a:endParaRPr kumimoji="0" lang="sk-SK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sk-SK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Ipsos Slovensk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sk-SK" sz="1300" dirty="0">
                <a:solidFill>
                  <a:srgbClr val="000000"/>
                </a:solidFill>
                <a:latin typeface="Arial" panose="020B0604020202020204"/>
              </a:rPr>
              <a:t>j</a:t>
            </a:r>
            <a:r>
              <a:rPr kumimoji="0" lang="sk-SK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akub.hankovsky@ipsos.co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sk-SK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GSM: +421 910 875 012</a:t>
            </a:r>
          </a:p>
        </p:txBody>
      </p:sp>
      <p:grpSp>
        <p:nvGrpSpPr>
          <p:cNvPr id="211" name="Group 7">
            <a:extLst>
              <a:ext uri="{FF2B5EF4-FFF2-40B4-BE49-F238E27FC236}">
                <a16:creationId xmlns:a16="http://schemas.microsoft.com/office/drawing/2014/main" id="{9E8EBB51-B1D4-4638-8744-0B0A3FE66BB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29520" y="1207509"/>
            <a:ext cx="571090" cy="571458"/>
            <a:chOff x="282" y="954"/>
            <a:chExt cx="1548" cy="1549"/>
          </a:xfrm>
        </p:grpSpPr>
        <p:sp>
          <p:nvSpPr>
            <p:cNvPr id="212" name="Line 8">
              <a:extLst>
                <a:ext uri="{FF2B5EF4-FFF2-40B4-BE49-F238E27FC236}">
                  <a16:creationId xmlns:a16="http://schemas.microsoft.com/office/drawing/2014/main" id="{7CEAA66C-BB62-4920-8834-3E5F710A6DD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023" y="1426"/>
              <a:ext cx="336" cy="336"/>
            </a:xfrm>
            <a:prstGeom prst="line">
              <a:avLst/>
            </a:prstGeom>
            <a:noFill/>
            <a:ln w="19050" cap="rnd">
              <a:solidFill>
                <a:srgbClr val="23357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3" name="Freeform 9">
              <a:extLst>
                <a:ext uri="{FF2B5EF4-FFF2-40B4-BE49-F238E27FC236}">
                  <a16:creationId xmlns:a16="http://schemas.microsoft.com/office/drawing/2014/main" id="{74B38F97-65D6-40EF-95F9-6479D2F5E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9" y="954"/>
              <a:ext cx="471" cy="472"/>
            </a:xfrm>
            <a:custGeom>
              <a:avLst/>
              <a:gdLst>
                <a:gd name="T0" fmla="*/ 471 w 471"/>
                <a:gd name="T1" fmla="*/ 202 h 472"/>
                <a:gd name="T2" fmla="*/ 201 w 471"/>
                <a:gd name="T3" fmla="*/ 472 h 472"/>
                <a:gd name="T4" fmla="*/ 0 w 471"/>
                <a:gd name="T5" fmla="*/ 472 h 472"/>
                <a:gd name="T6" fmla="*/ 0 w 471"/>
                <a:gd name="T7" fmla="*/ 270 h 472"/>
                <a:gd name="T8" fmla="*/ 269 w 471"/>
                <a:gd name="T9" fmla="*/ 0 h 472"/>
                <a:gd name="T10" fmla="*/ 269 w 471"/>
                <a:gd name="T11" fmla="*/ 202 h 472"/>
                <a:gd name="T12" fmla="*/ 471 w 471"/>
                <a:gd name="T13" fmla="*/ 20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1" h="472">
                  <a:moveTo>
                    <a:pt x="471" y="202"/>
                  </a:moveTo>
                  <a:lnTo>
                    <a:pt x="201" y="472"/>
                  </a:lnTo>
                  <a:lnTo>
                    <a:pt x="0" y="472"/>
                  </a:lnTo>
                  <a:lnTo>
                    <a:pt x="0" y="270"/>
                  </a:lnTo>
                  <a:lnTo>
                    <a:pt x="269" y="0"/>
                  </a:lnTo>
                  <a:lnTo>
                    <a:pt x="269" y="202"/>
                  </a:lnTo>
                  <a:lnTo>
                    <a:pt x="471" y="202"/>
                  </a:lnTo>
                  <a:close/>
                </a:path>
              </a:pathLst>
            </a:custGeom>
            <a:noFill/>
            <a:ln w="19050" cap="rnd">
              <a:solidFill>
                <a:srgbClr val="23357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4" name="Freeform 10">
              <a:extLst>
                <a:ext uri="{FF2B5EF4-FFF2-40B4-BE49-F238E27FC236}">
                  <a16:creationId xmlns:a16="http://schemas.microsoft.com/office/drawing/2014/main" id="{BACCF8C0-DA71-4416-9F23-2777213087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" y="1022"/>
              <a:ext cx="1480" cy="1481"/>
            </a:xfrm>
            <a:custGeom>
              <a:avLst/>
              <a:gdLst>
                <a:gd name="T0" fmla="*/ 719 w 719"/>
                <a:gd name="T1" fmla="*/ 359 h 719"/>
                <a:gd name="T2" fmla="*/ 360 w 719"/>
                <a:gd name="T3" fmla="*/ 719 h 719"/>
                <a:gd name="T4" fmla="*/ 0 w 719"/>
                <a:gd name="T5" fmla="*/ 359 h 719"/>
                <a:gd name="T6" fmla="*/ 360 w 719"/>
                <a:gd name="T7" fmla="*/ 0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9" h="719">
                  <a:moveTo>
                    <a:pt x="719" y="359"/>
                  </a:moveTo>
                  <a:cubicBezTo>
                    <a:pt x="719" y="558"/>
                    <a:pt x="558" y="719"/>
                    <a:pt x="360" y="719"/>
                  </a:cubicBezTo>
                  <a:cubicBezTo>
                    <a:pt x="161" y="719"/>
                    <a:pt x="0" y="558"/>
                    <a:pt x="0" y="359"/>
                  </a:cubicBezTo>
                  <a:cubicBezTo>
                    <a:pt x="0" y="161"/>
                    <a:pt x="161" y="0"/>
                    <a:pt x="360" y="0"/>
                  </a:cubicBezTo>
                </a:path>
              </a:pathLst>
            </a:custGeom>
            <a:noFill/>
            <a:ln w="19050" cap="rnd">
              <a:solidFill>
                <a:srgbClr val="23357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5" name="Freeform 11">
              <a:extLst>
                <a:ext uri="{FF2B5EF4-FFF2-40B4-BE49-F238E27FC236}">
                  <a16:creationId xmlns:a16="http://schemas.microsoft.com/office/drawing/2014/main" id="{D1815613-2DC3-4531-B2D1-3B6466495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" y="1022"/>
              <a:ext cx="1480" cy="1481"/>
            </a:xfrm>
            <a:custGeom>
              <a:avLst/>
              <a:gdLst>
                <a:gd name="T0" fmla="*/ 691 w 719"/>
                <a:gd name="T1" fmla="*/ 219 h 719"/>
                <a:gd name="T2" fmla="*/ 719 w 719"/>
                <a:gd name="T3" fmla="*/ 359 h 719"/>
                <a:gd name="T4" fmla="*/ 691 w 719"/>
                <a:gd name="T5" fmla="*/ 499 h 719"/>
                <a:gd name="T6" fmla="*/ 614 w 719"/>
                <a:gd name="T7" fmla="*/ 614 h 719"/>
                <a:gd name="T8" fmla="*/ 500 w 719"/>
                <a:gd name="T9" fmla="*/ 691 h 719"/>
                <a:gd name="T10" fmla="*/ 360 w 719"/>
                <a:gd name="T11" fmla="*/ 719 h 719"/>
                <a:gd name="T12" fmla="*/ 220 w 719"/>
                <a:gd name="T13" fmla="*/ 691 h 719"/>
                <a:gd name="T14" fmla="*/ 105 w 719"/>
                <a:gd name="T15" fmla="*/ 614 h 719"/>
                <a:gd name="T16" fmla="*/ 28 w 719"/>
                <a:gd name="T17" fmla="*/ 499 h 719"/>
                <a:gd name="T18" fmla="*/ 0 w 719"/>
                <a:gd name="T19" fmla="*/ 359 h 719"/>
                <a:gd name="T20" fmla="*/ 28 w 719"/>
                <a:gd name="T21" fmla="*/ 219 h 719"/>
                <a:gd name="T22" fmla="*/ 105 w 719"/>
                <a:gd name="T23" fmla="*/ 105 h 719"/>
                <a:gd name="T24" fmla="*/ 220 w 719"/>
                <a:gd name="T25" fmla="*/ 28 h 719"/>
                <a:gd name="T26" fmla="*/ 360 w 719"/>
                <a:gd name="T27" fmla="*/ 0 h 719"/>
                <a:gd name="T28" fmla="*/ 500 w 719"/>
                <a:gd name="T29" fmla="*/ 28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9" h="719">
                  <a:moveTo>
                    <a:pt x="691" y="219"/>
                  </a:moveTo>
                  <a:cubicBezTo>
                    <a:pt x="709" y="262"/>
                    <a:pt x="719" y="310"/>
                    <a:pt x="719" y="359"/>
                  </a:cubicBezTo>
                  <a:cubicBezTo>
                    <a:pt x="719" y="409"/>
                    <a:pt x="709" y="456"/>
                    <a:pt x="691" y="499"/>
                  </a:cubicBezTo>
                  <a:cubicBezTo>
                    <a:pt x="673" y="542"/>
                    <a:pt x="647" y="581"/>
                    <a:pt x="614" y="614"/>
                  </a:cubicBezTo>
                  <a:cubicBezTo>
                    <a:pt x="581" y="646"/>
                    <a:pt x="543" y="673"/>
                    <a:pt x="500" y="691"/>
                  </a:cubicBezTo>
                  <a:cubicBezTo>
                    <a:pt x="457" y="709"/>
                    <a:pt x="409" y="719"/>
                    <a:pt x="360" y="719"/>
                  </a:cubicBezTo>
                  <a:cubicBezTo>
                    <a:pt x="310" y="719"/>
                    <a:pt x="263" y="709"/>
                    <a:pt x="220" y="691"/>
                  </a:cubicBezTo>
                  <a:cubicBezTo>
                    <a:pt x="177" y="673"/>
                    <a:pt x="138" y="646"/>
                    <a:pt x="105" y="614"/>
                  </a:cubicBezTo>
                  <a:cubicBezTo>
                    <a:pt x="73" y="581"/>
                    <a:pt x="46" y="542"/>
                    <a:pt x="28" y="499"/>
                  </a:cubicBezTo>
                  <a:cubicBezTo>
                    <a:pt x="10" y="456"/>
                    <a:pt x="0" y="409"/>
                    <a:pt x="0" y="359"/>
                  </a:cubicBezTo>
                  <a:cubicBezTo>
                    <a:pt x="0" y="310"/>
                    <a:pt x="10" y="262"/>
                    <a:pt x="28" y="219"/>
                  </a:cubicBezTo>
                  <a:cubicBezTo>
                    <a:pt x="46" y="176"/>
                    <a:pt x="73" y="138"/>
                    <a:pt x="105" y="105"/>
                  </a:cubicBezTo>
                  <a:cubicBezTo>
                    <a:pt x="138" y="72"/>
                    <a:pt x="177" y="46"/>
                    <a:pt x="220" y="28"/>
                  </a:cubicBezTo>
                  <a:cubicBezTo>
                    <a:pt x="263" y="10"/>
                    <a:pt x="310" y="0"/>
                    <a:pt x="360" y="0"/>
                  </a:cubicBezTo>
                  <a:cubicBezTo>
                    <a:pt x="409" y="0"/>
                    <a:pt x="457" y="10"/>
                    <a:pt x="500" y="28"/>
                  </a:cubicBezTo>
                </a:path>
              </a:pathLst>
            </a:custGeom>
            <a:noFill/>
            <a:ln w="19050" cap="rnd">
              <a:solidFill>
                <a:srgbClr val="23357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6" name="Freeform 12">
              <a:extLst>
                <a:ext uri="{FF2B5EF4-FFF2-40B4-BE49-F238E27FC236}">
                  <a16:creationId xmlns:a16="http://schemas.microsoft.com/office/drawing/2014/main" id="{2DB35E43-D27C-4456-91D8-300789D25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" y="1393"/>
              <a:ext cx="739" cy="739"/>
            </a:xfrm>
            <a:custGeom>
              <a:avLst/>
              <a:gdLst>
                <a:gd name="T0" fmla="*/ 345 w 359"/>
                <a:gd name="T1" fmla="*/ 109 h 359"/>
                <a:gd name="T2" fmla="*/ 359 w 359"/>
                <a:gd name="T3" fmla="*/ 179 h 359"/>
                <a:gd name="T4" fmla="*/ 345 w 359"/>
                <a:gd name="T5" fmla="*/ 249 h 359"/>
                <a:gd name="T6" fmla="*/ 307 w 359"/>
                <a:gd name="T7" fmla="*/ 307 h 359"/>
                <a:gd name="T8" fmla="*/ 250 w 359"/>
                <a:gd name="T9" fmla="*/ 345 h 359"/>
                <a:gd name="T10" fmla="*/ 180 w 359"/>
                <a:gd name="T11" fmla="*/ 359 h 359"/>
                <a:gd name="T12" fmla="*/ 110 w 359"/>
                <a:gd name="T13" fmla="*/ 345 h 359"/>
                <a:gd name="T14" fmla="*/ 52 w 359"/>
                <a:gd name="T15" fmla="*/ 307 h 359"/>
                <a:gd name="T16" fmla="*/ 14 w 359"/>
                <a:gd name="T17" fmla="*/ 249 h 359"/>
                <a:gd name="T18" fmla="*/ 0 w 359"/>
                <a:gd name="T19" fmla="*/ 179 h 359"/>
                <a:gd name="T20" fmla="*/ 14 w 359"/>
                <a:gd name="T21" fmla="*/ 109 h 359"/>
                <a:gd name="T22" fmla="*/ 52 w 359"/>
                <a:gd name="T23" fmla="*/ 52 h 359"/>
                <a:gd name="T24" fmla="*/ 110 w 359"/>
                <a:gd name="T25" fmla="*/ 14 h 359"/>
                <a:gd name="T26" fmla="*/ 180 w 359"/>
                <a:gd name="T27" fmla="*/ 0 h 359"/>
                <a:gd name="T28" fmla="*/ 250 w 359"/>
                <a:gd name="T29" fmla="*/ 14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9" h="359">
                  <a:moveTo>
                    <a:pt x="345" y="109"/>
                  </a:moveTo>
                  <a:cubicBezTo>
                    <a:pt x="354" y="131"/>
                    <a:pt x="359" y="155"/>
                    <a:pt x="359" y="179"/>
                  </a:cubicBezTo>
                  <a:cubicBezTo>
                    <a:pt x="359" y="204"/>
                    <a:pt x="354" y="228"/>
                    <a:pt x="345" y="249"/>
                  </a:cubicBezTo>
                  <a:cubicBezTo>
                    <a:pt x="336" y="271"/>
                    <a:pt x="323" y="290"/>
                    <a:pt x="307" y="307"/>
                  </a:cubicBezTo>
                  <a:cubicBezTo>
                    <a:pt x="291" y="323"/>
                    <a:pt x="271" y="336"/>
                    <a:pt x="250" y="345"/>
                  </a:cubicBezTo>
                  <a:cubicBezTo>
                    <a:pt x="228" y="354"/>
                    <a:pt x="204" y="359"/>
                    <a:pt x="180" y="359"/>
                  </a:cubicBezTo>
                  <a:cubicBezTo>
                    <a:pt x="155" y="359"/>
                    <a:pt x="131" y="354"/>
                    <a:pt x="110" y="345"/>
                  </a:cubicBezTo>
                  <a:cubicBezTo>
                    <a:pt x="88" y="336"/>
                    <a:pt x="69" y="323"/>
                    <a:pt x="52" y="307"/>
                  </a:cubicBezTo>
                  <a:cubicBezTo>
                    <a:pt x="36" y="290"/>
                    <a:pt x="23" y="271"/>
                    <a:pt x="14" y="249"/>
                  </a:cubicBezTo>
                  <a:cubicBezTo>
                    <a:pt x="5" y="228"/>
                    <a:pt x="0" y="204"/>
                    <a:pt x="0" y="179"/>
                  </a:cubicBezTo>
                  <a:cubicBezTo>
                    <a:pt x="0" y="155"/>
                    <a:pt x="5" y="131"/>
                    <a:pt x="14" y="109"/>
                  </a:cubicBezTo>
                  <a:cubicBezTo>
                    <a:pt x="23" y="88"/>
                    <a:pt x="36" y="68"/>
                    <a:pt x="52" y="52"/>
                  </a:cubicBezTo>
                  <a:cubicBezTo>
                    <a:pt x="69" y="36"/>
                    <a:pt x="88" y="23"/>
                    <a:pt x="110" y="14"/>
                  </a:cubicBezTo>
                  <a:cubicBezTo>
                    <a:pt x="131" y="5"/>
                    <a:pt x="155" y="0"/>
                    <a:pt x="180" y="0"/>
                  </a:cubicBezTo>
                  <a:cubicBezTo>
                    <a:pt x="204" y="0"/>
                    <a:pt x="228" y="5"/>
                    <a:pt x="250" y="14"/>
                  </a:cubicBezTo>
                </a:path>
              </a:pathLst>
            </a:custGeom>
            <a:noFill/>
            <a:ln w="19050" cap="rnd">
              <a:solidFill>
                <a:srgbClr val="23357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60" name="Straight Connector 3">
            <a:extLst>
              <a:ext uri="{FF2B5EF4-FFF2-40B4-BE49-F238E27FC236}">
                <a16:creationId xmlns:a16="http://schemas.microsoft.com/office/drawing/2014/main" id="{844FB3F1-3E22-4978-ADD3-8F53EB5A0791}"/>
              </a:ext>
            </a:extLst>
          </p:cNvPr>
          <p:cNvCxnSpPr>
            <a:cxnSpLocks/>
          </p:cNvCxnSpPr>
          <p:nvPr/>
        </p:nvCxnSpPr>
        <p:spPr>
          <a:xfrm>
            <a:off x="860475" y="1922113"/>
            <a:ext cx="2431638" cy="0"/>
          </a:xfrm>
          <a:prstGeom prst="line">
            <a:avLst/>
          </a:prstGeom>
          <a:ln w="28575">
            <a:solidFill>
              <a:srgbClr val="2335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">
            <a:extLst>
              <a:ext uri="{FF2B5EF4-FFF2-40B4-BE49-F238E27FC236}">
                <a16:creationId xmlns:a16="http://schemas.microsoft.com/office/drawing/2014/main" id="{10B477C1-A372-4240-B9BE-38ABF4FB5A83}"/>
              </a:ext>
            </a:extLst>
          </p:cNvPr>
          <p:cNvSpPr txBox="1"/>
          <p:nvPr/>
        </p:nvSpPr>
        <p:spPr>
          <a:xfrm>
            <a:off x="1396584" y="1196752"/>
            <a:ext cx="1916015" cy="615553"/>
          </a:xfrm>
          <a:prstGeom prst="rect">
            <a:avLst/>
          </a:prstGeom>
          <a:noFill/>
        </p:spPr>
        <p:txBody>
          <a:bodyPr wrap="square" lIns="108000" tIns="0" rIns="108000" bIns="0" rtlCol="0" anchor="ctr">
            <a:spAutoFit/>
          </a:bodyPr>
          <a:lstStyle/>
          <a:p>
            <a:pPr lvl="0">
              <a:defRPr/>
            </a:pPr>
            <a:r>
              <a:rPr lang="sk-SK" sz="2000" b="1" dirty="0">
                <a:solidFill>
                  <a:srgbClr val="233575"/>
                </a:solidFill>
              </a:rPr>
              <a:t>Cieľ
výskumu</a:t>
            </a:r>
            <a:endParaRPr kumimoji="0" lang="sk-SK" sz="2000" b="1" i="0" u="none" strike="noStrike" kern="1200" cap="none" spc="0" normalizeH="0" baseline="0" noProof="0" dirty="0">
              <a:ln>
                <a:noFill/>
              </a:ln>
              <a:solidFill>
                <a:srgbClr val="233575"/>
              </a:solidFill>
              <a:effectLst/>
              <a:uLnTx/>
              <a:uFillTx/>
              <a:latin typeface="Arial" panose="020B0604020202020204"/>
            </a:endParaRPr>
          </a:p>
        </p:txBody>
      </p:sp>
      <p:cxnSp>
        <p:nvCxnSpPr>
          <p:cNvPr id="62" name="Straight Connector 3">
            <a:extLst>
              <a:ext uri="{FF2B5EF4-FFF2-40B4-BE49-F238E27FC236}">
                <a16:creationId xmlns:a16="http://schemas.microsoft.com/office/drawing/2014/main" id="{978E72DB-B5FC-475F-B986-F0AA319C715D}"/>
              </a:ext>
            </a:extLst>
          </p:cNvPr>
          <p:cNvCxnSpPr>
            <a:cxnSpLocks/>
          </p:cNvCxnSpPr>
          <p:nvPr/>
        </p:nvCxnSpPr>
        <p:spPr>
          <a:xfrm>
            <a:off x="4976054" y="1921888"/>
            <a:ext cx="2431638" cy="0"/>
          </a:xfrm>
          <a:prstGeom prst="line">
            <a:avLst/>
          </a:prstGeom>
          <a:ln w="28575">
            <a:solidFill>
              <a:srgbClr val="0076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">
            <a:extLst>
              <a:ext uri="{FF2B5EF4-FFF2-40B4-BE49-F238E27FC236}">
                <a16:creationId xmlns:a16="http://schemas.microsoft.com/office/drawing/2014/main" id="{7FFA0C7A-559A-4868-B034-D2DEA20B31AB}"/>
              </a:ext>
            </a:extLst>
          </p:cNvPr>
          <p:cNvSpPr txBox="1"/>
          <p:nvPr/>
        </p:nvSpPr>
        <p:spPr>
          <a:xfrm>
            <a:off x="5470381" y="1233510"/>
            <a:ext cx="1916015" cy="615553"/>
          </a:xfrm>
          <a:prstGeom prst="rect">
            <a:avLst/>
          </a:prstGeom>
          <a:noFill/>
        </p:spPr>
        <p:txBody>
          <a:bodyPr wrap="square" lIns="108000" tIns="0" rIns="108000" bIns="0" rtlCol="0" anchor="ctr">
            <a:spAutoFit/>
          </a:bodyPr>
          <a:lstStyle/>
          <a:p>
            <a:pPr lvl="0">
              <a:defRPr/>
            </a:pPr>
            <a:r>
              <a:rPr lang="sk-SK" sz="2000" b="1" dirty="0">
                <a:solidFill>
                  <a:srgbClr val="007675"/>
                </a:solidFill>
              </a:rPr>
              <a:t>Metóda
zberu údajov</a:t>
            </a:r>
            <a:endParaRPr kumimoji="0" lang="sk-SK" sz="2000" b="1" i="0" u="none" strike="noStrike" kern="1200" cap="none" spc="0" normalizeH="0" baseline="0" noProof="0" dirty="0">
              <a:ln>
                <a:noFill/>
              </a:ln>
              <a:solidFill>
                <a:srgbClr val="007675"/>
              </a:solidFill>
              <a:effectLst/>
              <a:uLnTx/>
              <a:uFillTx/>
              <a:latin typeface="Arial" panose="020B0604020202020204"/>
            </a:endParaRPr>
          </a:p>
        </p:txBody>
      </p:sp>
      <p:grpSp>
        <p:nvGrpSpPr>
          <p:cNvPr id="64" name="Group 5">
            <a:extLst>
              <a:ext uri="{FF2B5EF4-FFF2-40B4-BE49-F238E27FC236}">
                <a16:creationId xmlns:a16="http://schemas.microsoft.com/office/drawing/2014/main" id="{F53D22D8-0A2F-479D-9C43-2A852D90532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02911" y="1265575"/>
            <a:ext cx="561987" cy="560610"/>
            <a:chOff x="2054" y="1649"/>
            <a:chExt cx="408" cy="407"/>
          </a:xfrm>
        </p:grpSpPr>
        <p:sp>
          <p:nvSpPr>
            <p:cNvPr id="65" name="Freeform 6">
              <a:extLst>
                <a:ext uri="{FF2B5EF4-FFF2-40B4-BE49-F238E27FC236}">
                  <a16:creationId xmlns:a16="http://schemas.microsoft.com/office/drawing/2014/main" id="{EDE6ACCF-BB4B-41CE-94B2-AA7F2FE40F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4" y="1649"/>
              <a:ext cx="408" cy="407"/>
            </a:xfrm>
            <a:custGeom>
              <a:avLst/>
              <a:gdLst>
                <a:gd name="T0" fmla="*/ 192 w 192"/>
                <a:gd name="T1" fmla="*/ 110 h 192"/>
                <a:gd name="T2" fmla="*/ 192 w 192"/>
                <a:gd name="T3" fmla="*/ 82 h 192"/>
                <a:gd name="T4" fmla="*/ 170 w 192"/>
                <a:gd name="T5" fmla="*/ 78 h 192"/>
                <a:gd name="T6" fmla="*/ 161 w 192"/>
                <a:gd name="T7" fmla="*/ 56 h 192"/>
                <a:gd name="T8" fmla="*/ 174 w 192"/>
                <a:gd name="T9" fmla="*/ 38 h 192"/>
                <a:gd name="T10" fmla="*/ 154 w 192"/>
                <a:gd name="T11" fmla="*/ 18 h 192"/>
                <a:gd name="T12" fmla="*/ 136 w 192"/>
                <a:gd name="T13" fmla="*/ 31 h 192"/>
                <a:gd name="T14" fmla="*/ 114 w 192"/>
                <a:gd name="T15" fmla="*/ 22 h 192"/>
                <a:gd name="T16" fmla="*/ 110 w 192"/>
                <a:gd name="T17" fmla="*/ 0 h 192"/>
                <a:gd name="T18" fmla="*/ 82 w 192"/>
                <a:gd name="T19" fmla="*/ 0 h 192"/>
                <a:gd name="T20" fmla="*/ 78 w 192"/>
                <a:gd name="T21" fmla="*/ 22 h 192"/>
                <a:gd name="T22" fmla="*/ 56 w 192"/>
                <a:gd name="T23" fmla="*/ 31 h 192"/>
                <a:gd name="T24" fmla="*/ 38 w 192"/>
                <a:gd name="T25" fmla="*/ 18 h 192"/>
                <a:gd name="T26" fmla="*/ 18 w 192"/>
                <a:gd name="T27" fmla="*/ 38 h 192"/>
                <a:gd name="T28" fmla="*/ 31 w 192"/>
                <a:gd name="T29" fmla="*/ 56 h 192"/>
                <a:gd name="T30" fmla="*/ 22 w 192"/>
                <a:gd name="T31" fmla="*/ 78 h 192"/>
                <a:gd name="T32" fmla="*/ 0 w 192"/>
                <a:gd name="T33" fmla="*/ 82 h 192"/>
                <a:gd name="T34" fmla="*/ 0 w 192"/>
                <a:gd name="T35" fmla="*/ 110 h 192"/>
                <a:gd name="T36" fmla="*/ 22 w 192"/>
                <a:gd name="T37" fmla="*/ 114 h 192"/>
                <a:gd name="T38" fmla="*/ 31 w 192"/>
                <a:gd name="T39" fmla="*/ 136 h 192"/>
                <a:gd name="T40" fmla="*/ 18 w 192"/>
                <a:gd name="T41" fmla="*/ 154 h 192"/>
                <a:gd name="T42" fmla="*/ 38 w 192"/>
                <a:gd name="T43" fmla="*/ 174 h 192"/>
                <a:gd name="T44" fmla="*/ 56 w 192"/>
                <a:gd name="T45" fmla="*/ 161 h 192"/>
                <a:gd name="T46" fmla="*/ 78 w 192"/>
                <a:gd name="T47" fmla="*/ 170 h 192"/>
                <a:gd name="T48" fmla="*/ 82 w 192"/>
                <a:gd name="T49" fmla="*/ 192 h 192"/>
                <a:gd name="T50" fmla="*/ 110 w 192"/>
                <a:gd name="T51" fmla="*/ 192 h 192"/>
                <a:gd name="T52" fmla="*/ 114 w 192"/>
                <a:gd name="T53" fmla="*/ 170 h 192"/>
                <a:gd name="T54" fmla="*/ 136 w 192"/>
                <a:gd name="T55" fmla="*/ 161 h 192"/>
                <a:gd name="T56" fmla="*/ 154 w 192"/>
                <a:gd name="T57" fmla="*/ 174 h 192"/>
                <a:gd name="T58" fmla="*/ 174 w 192"/>
                <a:gd name="T59" fmla="*/ 154 h 192"/>
                <a:gd name="T60" fmla="*/ 161 w 192"/>
                <a:gd name="T61" fmla="*/ 136 h 192"/>
                <a:gd name="T62" fmla="*/ 170 w 192"/>
                <a:gd name="T63" fmla="*/ 114 h 192"/>
                <a:gd name="T64" fmla="*/ 192 w 192"/>
                <a:gd name="T65" fmla="*/ 11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2" h="192">
                  <a:moveTo>
                    <a:pt x="192" y="110"/>
                  </a:moveTo>
                  <a:cubicBezTo>
                    <a:pt x="192" y="82"/>
                    <a:pt x="192" y="82"/>
                    <a:pt x="192" y="82"/>
                  </a:cubicBezTo>
                  <a:cubicBezTo>
                    <a:pt x="170" y="78"/>
                    <a:pt x="170" y="78"/>
                    <a:pt x="170" y="78"/>
                  </a:cubicBezTo>
                  <a:cubicBezTo>
                    <a:pt x="168" y="70"/>
                    <a:pt x="165" y="63"/>
                    <a:pt x="161" y="56"/>
                  </a:cubicBezTo>
                  <a:cubicBezTo>
                    <a:pt x="174" y="38"/>
                    <a:pt x="174" y="38"/>
                    <a:pt x="174" y="38"/>
                  </a:cubicBezTo>
                  <a:cubicBezTo>
                    <a:pt x="154" y="18"/>
                    <a:pt x="154" y="18"/>
                    <a:pt x="154" y="18"/>
                  </a:cubicBezTo>
                  <a:cubicBezTo>
                    <a:pt x="136" y="31"/>
                    <a:pt x="136" y="31"/>
                    <a:pt x="136" y="31"/>
                  </a:cubicBezTo>
                  <a:cubicBezTo>
                    <a:pt x="129" y="27"/>
                    <a:pt x="122" y="24"/>
                    <a:pt x="114" y="22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0" y="24"/>
                    <a:pt x="63" y="27"/>
                    <a:pt x="56" y="31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27" y="63"/>
                    <a:pt x="24" y="70"/>
                    <a:pt x="22" y="78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24" y="122"/>
                    <a:pt x="27" y="129"/>
                    <a:pt x="31" y="136"/>
                  </a:cubicBezTo>
                  <a:cubicBezTo>
                    <a:pt x="18" y="154"/>
                    <a:pt x="18" y="154"/>
                    <a:pt x="18" y="154"/>
                  </a:cubicBezTo>
                  <a:cubicBezTo>
                    <a:pt x="38" y="174"/>
                    <a:pt x="38" y="174"/>
                    <a:pt x="38" y="174"/>
                  </a:cubicBezTo>
                  <a:cubicBezTo>
                    <a:pt x="56" y="161"/>
                    <a:pt x="56" y="161"/>
                    <a:pt x="56" y="161"/>
                  </a:cubicBezTo>
                  <a:cubicBezTo>
                    <a:pt x="63" y="165"/>
                    <a:pt x="70" y="168"/>
                    <a:pt x="78" y="170"/>
                  </a:cubicBezTo>
                  <a:cubicBezTo>
                    <a:pt x="82" y="192"/>
                    <a:pt x="82" y="192"/>
                    <a:pt x="82" y="192"/>
                  </a:cubicBezTo>
                  <a:cubicBezTo>
                    <a:pt x="110" y="192"/>
                    <a:pt x="110" y="192"/>
                    <a:pt x="110" y="192"/>
                  </a:cubicBezTo>
                  <a:cubicBezTo>
                    <a:pt x="114" y="170"/>
                    <a:pt x="114" y="170"/>
                    <a:pt x="114" y="170"/>
                  </a:cubicBezTo>
                  <a:cubicBezTo>
                    <a:pt x="122" y="168"/>
                    <a:pt x="129" y="165"/>
                    <a:pt x="136" y="161"/>
                  </a:cubicBezTo>
                  <a:cubicBezTo>
                    <a:pt x="154" y="174"/>
                    <a:pt x="154" y="174"/>
                    <a:pt x="154" y="174"/>
                  </a:cubicBezTo>
                  <a:cubicBezTo>
                    <a:pt x="174" y="154"/>
                    <a:pt x="174" y="154"/>
                    <a:pt x="174" y="154"/>
                  </a:cubicBezTo>
                  <a:cubicBezTo>
                    <a:pt x="161" y="136"/>
                    <a:pt x="161" y="136"/>
                    <a:pt x="161" y="136"/>
                  </a:cubicBezTo>
                  <a:cubicBezTo>
                    <a:pt x="165" y="129"/>
                    <a:pt x="168" y="122"/>
                    <a:pt x="170" y="114"/>
                  </a:cubicBezTo>
                  <a:lnTo>
                    <a:pt x="192" y="110"/>
                  </a:lnTo>
                  <a:close/>
                </a:path>
              </a:pathLst>
            </a:custGeom>
            <a:noFill/>
            <a:ln w="19050" cap="rnd">
              <a:solidFill>
                <a:srgbClr val="00767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229659F3-C6CF-4D32-88A4-C7CCE8CB4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6" y="1751"/>
              <a:ext cx="153" cy="153"/>
            </a:xfrm>
            <a:custGeom>
              <a:avLst/>
              <a:gdLst>
                <a:gd name="T0" fmla="*/ 72 w 72"/>
                <a:gd name="T1" fmla="*/ 7 h 72"/>
                <a:gd name="T2" fmla="*/ 48 w 72"/>
                <a:gd name="T3" fmla="*/ 0 h 72"/>
                <a:gd name="T4" fmla="*/ 0 w 72"/>
                <a:gd name="T5" fmla="*/ 48 h 72"/>
                <a:gd name="T6" fmla="*/ 6 w 72"/>
                <a:gd name="T7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72">
                  <a:moveTo>
                    <a:pt x="72" y="7"/>
                  </a:moveTo>
                  <a:cubicBezTo>
                    <a:pt x="65" y="2"/>
                    <a:pt x="57" y="0"/>
                    <a:pt x="48" y="0"/>
                  </a:cubicBezTo>
                  <a:cubicBezTo>
                    <a:pt x="21" y="0"/>
                    <a:pt x="0" y="21"/>
                    <a:pt x="0" y="48"/>
                  </a:cubicBezTo>
                  <a:cubicBezTo>
                    <a:pt x="0" y="57"/>
                    <a:pt x="2" y="65"/>
                    <a:pt x="6" y="72"/>
                  </a:cubicBezTo>
                </a:path>
              </a:pathLst>
            </a:custGeom>
            <a:noFill/>
            <a:ln w="19050" cap="rnd">
              <a:solidFill>
                <a:srgbClr val="00767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DCF0B5C2-C85B-4F29-A288-6594E69D5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5" y="1802"/>
              <a:ext cx="15" cy="102"/>
            </a:xfrm>
            <a:custGeom>
              <a:avLst/>
              <a:gdLst>
                <a:gd name="T0" fmla="*/ 1 w 7"/>
                <a:gd name="T1" fmla="*/ 48 h 48"/>
                <a:gd name="T2" fmla="*/ 7 w 7"/>
                <a:gd name="T3" fmla="*/ 24 h 48"/>
                <a:gd name="T4" fmla="*/ 0 w 7"/>
                <a:gd name="T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48">
                  <a:moveTo>
                    <a:pt x="1" y="48"/>
                  </a:moveTo>
                  <a:cubicBezTo>
                    <a:pt x="5" y="41"/>
                    <a:pt x="7" y="33"/>
                    <a:pt x="7" y="24"/>
                  </a:cubicBezTo>
                  <a:cubicBezTo>
                    <a:pt x="7" y="15"/>
                    <a:pt x="5" y="7"/>
                    <a:pt x="0" y="0"/>
                  </a:cubicBezTo>
                </a:path>
              </a:pathLst>
            </a:custGeom>
            <a:noFill/>
            <a:ln w="19050" cap="rnd">
              <a:solidFill>
                <a:srgbClr val="00767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Line 9">
              <a:extLst>
                <a:ext uri="{FF2B5EF4-FFF2-40B4-BE49-F238E27FC236}">
                  <a16:creationId xmlns:a16="http://schemas.microsoft.com/office/drawing/2014/main" id="{B7E11050-34DE-47BF-84A2-E8A06BD22BF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70" y="1776"/>
              <a:ext cx="64" cy="64"/>
            </a:xfrm>
            <a:prstGeom prst="line">
              <a:avLst/>
            </a:prstGeom>
            <a:noFill/>
            <a:ln w="19050" cap="rnd">
              <a:solidFill>
                <a:srgbClr val="00767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Oval 10">
              <a:extLst>
                <a:ext uri="{FF2B5EF4-FFF2-40B4-BE49-F238E27FC236}">
                  <a16:creationId xmlns:a16="http://schemas.microsoft.com/office/drawing/2014/main" id="{9EA38D49-C38A-4252-A3E9-95461BC484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41" y="1836"/>
              <a:ext cx="34" cy="34"/>
            </a:xfrm>
            <a:prstGeom prst="ellipse">
              <a:avLst/>
            </a:prstGeom>
            <a:noFill/>
            <a:ln w="19050" cap="flat">
              <a:solidFill>
                <a:srgbClr val="00767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70" name="Straight Connector 3">
            <a:extLst>
              <a:ext uri="{FF2B5EF4-FFF2-40B4-BE49-F238E27FC236}">
                <a16:creationId xmlns:a16="http://schemas.microsoft.com/office/drawing/2014/main" id="{B3C82463-0E97-452F-88D3-F5494A56804E}"/>
              </a:ext>
            </a:extLst>
          </p:cNvPr>
          <p:cNvCxnSpPr>
            <a:cxnSpLocks/>
          </p:cNvCxnSpPr>
          <p:nvPr/>
        </p:nvCxnSpPr>
        <p:spPr>
          <a:xfrm>
            <a:off x="8482843" y="1921888"/>
            <a:ext cx="2431638" cy="0"/>
          </a:xfrm>
          <a:prstGeom prst="line">
            <a:avLst/>
          </a:prstGeom>
          <a:ln w="28575">
            <a:solidFill>
              <a:srgbClr val="00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Group 74">
            <a:extLst>
              <a:ext uri="{FF2B5EF4-FFF2-40B4-BE49-F238E27FC236}">
                <a16:creationId xmlns:a16="http://schemas.microsoft.com/office/drawing/2014/main" id="{AA2D837C-E070-42D3-9EDA-7A132D71A1E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00384" y="1207565"/>
            <a:ext cx="467924" cy="528722"/>
            <a:chOff x="1934" y="10"/>
            <a:chExt cx="3802" cy="4296"/>
          </a:xfrm>
        </p:grpSpPr>
        <p:sp>
          <p:nvSpPr>
            <p:cNvPr id="72" name="Freeform 75">
              <a:extLst>
                <a:ext uri="{FF2B5EF4-FFF2-40B4-BE49-F238E27FC236}">
                  <a16:creationId xmlns:a16="http://schemas.microsoft.com/office/drawing/2014/main" id="{4F0B9A4B-D404-48E1-ABA2-7181B67577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" y="10"/>
              <a:ext cx="3578" cy="4296"/>
            </a:xfrm>
            <a:custGeom>
              <a:avLst/>
              <a:gdLst>
                <a:gd name="T0" fmla="*/ 1206 w 1709"/>
                <a:gd name="T1" fmla="*/ 13 h 2050"/>
                <a:gd name="T2" fmla="*/ 1030 w 1709"/>
                <a:gd name="T3" fmla="*/ 3 h 2050"/>
                <a:gd name="T4" fmla="*/ 700 w 1709"/>
                <a:gd name="T5" fmla="*/ 51 h 2050"/>
                <a:gd name="T6" fmla="*/ 357 w 1709"/>
                <a:gd name="T7" fmla="*/ 216 h 2050"/>
                <a:gd name="T8" fmla="*/ 221 w 1709"/>
                <a:gd name="T9" fmla="*/ 439 h 2050"/>
                <a:gd name="T10" fmla="*/ 190 w 1709"/>
                <a:gd name="T11" fmla="*/ 548 h 2050"/>
                <a:gd name="T12" fmla="*/ 187 w 1709"/>
                <a:gd name="T13" fmla="*/ 563 h 2050"/>
                <a:gd name="T14" fmla="*/ 158 w 1709"/>
                <a:gd name="T15" fmla="*/ 640 h 2050"/>
                <a:gd name="T16" fmla="*/ 138 w 1709"/>
                <a:gd name="T17" fmla="*/ 688 h 2050"/>
                <a:gd name="T18" fmla="*/ 129 w 1709"/>
                <a:gd name="T19" fmla="*/ 745 h 2050"/>
                <a:gd name="T20" fmla="*/ 178 w 1709"/>
                <a:gd name="T21" fmla="*/ 821 h 2050"/>
                <a:gd name="T22" fmla="*/ 206 w 1709"/>
                <a:gd name="T23" fmla="*/ 856 h 2050"/>
                <a:gd name="T24" fmla="*/ 200 w 1709"/>
                <a:gd name="T25" fmla="*/ 871 h 2050"/>
                <a:gd name="T26" fmla="*/ 51 w 1709"/>
                <a:gd name="T27" fmla="*/ 1114 h 2050"/>
                <a:gd name="T28" fmla="*/ 6 w 1709"/>
                <a:gd name="T29" fmla="*/ 1214 h 2050"/>
                <a:gd name="T30" fmla="*/ 55 w 1709"/>
                <a:gd name="T31" fmla="*/ 1278 h 2050"/>
                <a:gd name="T32" fmla="*/ 55 w 1709"/>
                <a:gd name="T33" fmla="*/ 1278 h 2050"/>
                <a:gd name="T34" fmla="*/ 91 w 1709"/>
                <a:gd name="T35" fmla="*/ 1299 h 2050"/>
                <a:gd name="T36" fmla="*/ 132 w 1709"/>
                <a:gd name="T37" fmla="*/ 1328 h 2050"/>
                <a:gd name="T38" fmla="*/ 128 w 1709"/>
                <a:gd name="T39" fmla="*/ 1362 h 2050"/>
                <a:gd name="T40" fmla="*/ 113 w 1709"/>
                <a:gd name="T41" fmla="*/ 1391 h 2050"/>
                <a:gd name="T42" fmla="*/ 111 w 1709"/>
                <a:gd name="T43" fmla="*/ 1476 h 2050"/>
                <a:gd name="T44" fmla="*/ 143 w 1709"/>
                <a:gd name="T45" fmla="*/ 1501 h 2050"/>
                <a:gd name="T46" fmla="*/ 132 w 1709"/>
                <a:gd name="T47" fmla="*/ 1550 h 2050"/>
                <a:gd name="T48" fmla="*/ 152 w 1709"/>
                <a:gd name="T49" fmla="*/ 1584 h 2050"/>
                <a:gd name="T50" fmla="*/ 176 w 1709"/>
                <a:gd name="T51" fmla="*/ 1599 h 2050"/>
                <a:gd name="T52" fmla="*/ 206 w 1709"/>
                <a:gd name="T53" fmla="*/ 1626 h 2050"/>
                <a:gd name="T54" fmla="*/ 203 w 1709"/>
                <a:gd name="T55" fmla="*/ 1667 h 2050"/>
                <a:gd name="T56" fmla="*/ 198 w 1709"/>
                <a:gd name="T57" fmla="*/ 1694 h 2050"/>
                <a:gd name="T58" fmla="*/ 209 w 1709"/>
                <a:gd name="T59" fmla="*/ 1786 h 2050"/>
                <a:gd name="T60" fmla="*/ 330 w 1709"/>
                <a:gd name="T61" fmla="*/ 1879 h 2050"/>
                <a:gd name="T62" fmla="*/ 358 w 1709"/>
                <a:gd name="T63" fmla="*/ 1876 h 2050"/>
                <a:gd name="T64" fmla="*/ 646 w 1709"/>
                <a:gd name="T65" fmla="*/ 1790 h 2050"/>
                <a:gd name="T66" fmla="*/ 784 w 1709"/>
                <a:gd name="T67" fmla="*/ 2024 h 2050"/>
                <a:gd name="T68" fmla="*/ 817 w 1709"/>
                <a:gd name="T69" fmla="*/ 2050 h 2050"/>
                <a:gd name="T70" fmla="*/ 1674 w 1709"/>
                <a:gd name="T71" fmla="*/ 2048 h 2050"/>
                <a:gd name="T72" fmla="*/ 1701 w 1709"/>
                <a:gd name="T73" fmla="*/ 2034 h 2050"/>
                <a:gd name="T74" fmla="*/ 1706 w 1709"/>
                <a:gd name="T75" fmla="*/ 2003 h 2050"/>
                <a:gd name="T76" fmla="*/ 1671 w 1709"/>
                <a:gd name="T77" fmla="*/ 1938 h 2050"/>
                <a:gd name="T78" fmla="*/ 1649 w 1709"/>
                <a:gd name="T79" fmla="*/ 1901 h 2050"/>
                <a:gd name="T80" fmla="*/ 1611 w 1709"/>
                <a:gd name="T81" fmla="*/ 1804 h 2050"/>
                <a:gd name="T82" fmla="*/ 1571 w 1709"/>
                <a:gd name="T83" fmla="*/ 1605 h 2050"/>
                <a:gd name="T84" fmla="*/ 55 w 1709"/>
                <a:gd name="T85" fmla="*/ 1278 h 2050"/>
                <a:gd name="T86" fmla="*/ 55 w 1709"/>
                <a:gd name="T87" fmla="*/ 1278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709" h="2050">
                  <a:moveTo>
                    <a:pt x="1206" y="13"/>
                  </a:moveTo>
                  <a:cubicBezTo>
                    <a:pt x="1148" y="3"/>
                    <a:pt x="1089" y="0"/>
                    <a:pt x="1030" y="3"/>
                  </a:cubicBezTo>
                  <a:cubicBezTo>
                    <a:pt x="919" y="11"/>
                    <a:pt x="808" y="27"/>
                    <a:pt x="700" y="51"/>
                  </a:cubicBezTo>
                  <a:cubicBezTo>
                    <a:pt x="546" y="81"/>
                    <a:pt x="434" y="135"/>
                    <a:pt x="357" y="216"/>
                  </a:cubicBezTo>
                  <a:cubicBezTo>
                    <a:pt x="297" y="280"/>
                    <a:pt x="251" y="356"/>
                    <a:pt x="221" y="439"/>
                  </a:cubicBezTo>
                  <a:cubicBezTo>
                    <a:pt x="208" y="475"/>
                    <a:pt x="198" y="511"/>
                    <a:pt x="190" y="548"/>
                  </a:cubicBezTo>
                  <a:cubicBezTo>
                    <a:pt x="187" y="563"/>
                    <a:pt x="187" y="563"/>
                    <a:pt x="187" y="563"/>
                  </a:cubicBezTo>
                  <a:cubicBezTo>
                    <a:pt x="180" y="589"/>
                    <a:pt x="170" y="615"/>
                    <a:pt x="158" y="640"/>
                  </a:cubicBezTo>
                  <a:cubicBezTo>
                    <a:pt x="151" y="656"/>
                    <a:pt x="144" y="671"/>
                    <a:pt x="138" y="688"/>
                  </a:cubicBezTo>
                  <a:cubicBezTo>
                    <a:pt x="130" y="706"/>
                    <a:pt x="127" y="725"/>
                    <a:pt x="129" y="745"/>
                  </a:cubicBezTo>
                  <a:cubicBezTo>
                    <a:pt x="136" y="775"/>
                    <a:pt x="153" y="802"/>
                    <a:pt x="178" y="821"/>
                  </a:cubicBezTo>
                  <a:cubicBezTo>
                    <a:pt x="195" y="836"/>
                    <a:pt x="206" y="847"/>
                    <a:pt x="206" y="856"/>
                  </a:cubicBezTo>
                  <a:cubicBezTo>
                    <a:pt x="205" y="862"/>
                    <a:pt x="203" y="867"/>
                    <a:pt x="200" y="871"/>
                  </a:cubicBezTo>
                  <a:cubicBezTo>
                    <a:pt x="159" y="957"/>
                    <a:pt x="109" y="1039"/>
                    <a:pt x="51" y="1114"/>
                  </a:cubicBezTo>
                  <a:cubicBezTo>
                    <a:pt x="26" y="1144"/>
                    <a:pt x="0" y="1179"/>
                    <a:pt x="6" y="1214"/>
                  </a:cubicBezTo>
                  <a:cubicBezTo>
                    <a:pt x="13" y="1241"/>
                    <a:pt x="31" y="1265"/>
                    <a:pt x="55" y="1278"/>
                  </a:cubicBezTo>
                  <a:cubicBezTo>
                    <a:pt x="55" y="1278"/>
                    <a:pt x="55" y="1278"/>
                    <a:pt x="55" y="1278"/>
                  </a:cubicBezTo>
                  <a:cubicBezTo>
                    <a:pt x="67" y="1286"/>
                    <a:pt x="79" y="1293"/>
                    <a:pt x="91" y="1299"/>
                  </a:cubicBezTo>
                  <a:cubicBezTo>
                    <a:pt x="106" y="1306"/>
                    <a:pt x="130" y="1319"/>
                    <a:pt x="132" y="1328"/>
                  </a:cubicBezTo>
                  <a:cubicBezTo>
                    <a:pt x="134" y="1339"/>
                    <a:pt x="133" y="1352"/>
                    <a:pt x="128" y="1362"/>
                  </a:cubicBezTo>
                  <a:cubicBezTo>
                    <a:pt x="123" y="1373"/>
                    <a:pt x="118" y="1383"/>
                    <a:pt x="113" y="1391"/>
                  </a:cubicBezTo>
                  <a:cubicBezTo>
                    <a:pt x="101" y="1413"/>
                    <a:pt x="80" y="1450"/>
                    <a:pt x="111" y="1476"/>
                  </a:cubicBezTo>
                  <a:cubicBezTo>
                    <a:pt x="119" y="1482"/>
                    <a:pt x="131" y="1492"/>
                    <a:pt x="143" y="1501"/>
                  </a:cubicBezTo>
                  <a:cubicBezTo>
                    <a:pt x="134" y="1516"/>
                    <a:pt x="130" y="1533"/>
                    <a:pt x="132" y="1550"/>
                  </a:cubicBezTo>
                  <a:cubicBezTo>
                    <a:pt x="134" y="1564"/>
                    <a:pt x="141" y="1576"/>
                    <a:pt x="152" y="1584"/>
                  </a:cubicBezTo>
                  <a:cubicBezTo>
                    <a:pt x="160" y="1589"/>
                    <a:pt x="168" y="1594"/>
                    <a:pt x="176" y="1599"/>
                  </a:cubicBezTo>
                  <a:cubicBezTo>
                    <a:pt x="196" y="1610"/>
                    <a:pt x="204" y="1615"/>
                    <a:pt x="206" y="1626"/>
                  </a:cubicBezTo>
                  <a:cubicBezTo>
                    <a:pt x="208" y="1640"/>
                    <a:pt x="207" y="1654"/>
                    <a:pt x="203" y="1667"/>
                  </a:cubicBezTo>
                  <a:cubicBezTo>
                    <a:pt x="201" y="1676"/>
                    <a:pt x="199" y="1685"/>
                    <a:pt x="198" y="1694"/>
                  </a:cubicBezTo>
                  <a:cubicBezTo>
                    <a:pt x="194" y="1725"/>
                    <a:pt x="198" y="1757"/>
                    <a:pt x="209" y="1786"/>
                  </a:cubicBezTo>
                  <a:cubicBezTo>
                    <a:pt x="224" y="1841"/>
                    <a:pt x="273" y="1878"/>
                    <a:pt x="330" y="1879"/>
                  </a:cubicBezTo>
                  <a:cubicBezTo>
                    <a:pt x="339" y="1879"/>
                    <a:pt x="349" y="1878"/>
                    <a:pt x="358" y="1876"/>
                  </a:cubicBezTo>
                  <a:cubicBezTo>
                    <a:pt x="455" y="1853"/>
                    <a:pt x="551" y="1825"/>
                    <a:pt x="646" y="1790"/>
                  </a:cubicBezTo>
                  <a:cubicBezTo>
                    <a:pt x="722" y="1835"/>
                    <a:pt x="771" y="1973"/>
                    <a:pt x="784" y="2024"/>
                  </a:cubicBezTo>
                  <a:cubicBezTo>
                    <a:pt x="787" y="2039"/>
                    <a:pt x="801" y="2050"/>
                    <a:pt x="817" y="2050"/>
                  </a:cubicBezTo>
                  <a:cubicBezTo>
                    <a:pt x="1674" y="2048"/>
                    <a:pt x="1674" y="2048"/>
                    <a:pt x="1674" y="2048"/>
                  </a:cubicBezTo>
                  <a:cubicBezTo>
                    <a:pt x="1684" y="2048"/>
                    <a:pt x="1695" y="2042"/>
                    <a:pt x="1701" y="2034"/>
                  </a:cubicBezTo>
                  <a:cubicBezTo>
                    <a:pt x="1707" y="2025"/>
                    <a:pt x="1709" y="2014"/>
                    <a:pt x="1706" y="2003"/>
                  </a:cubicBezTo>
                  <a:cubicBezTo>
                    <a:pt x="1698" y="1980"/>
                    <a:pt x="1686" y="1958"/>
                    <a:pt x="1671" y="1938"/>
                  </a:cubicBezTo>
                  <a:cubicBezTo>
                    <a:pt x="1663" y="1927"/>
                    <a:pt x="1656" y="1914"/>
                    <a:pt x="1649" y="1901"/>
                  </a:cubicBezTo>
                  <a:cubicBezTo>
                    <a:pt x="1634" y="1870"/>
                    <a:pt x="1621" y="1838"/>
                    <a:pt x="1611" y="1804"/>
                  </a:cubicBezTo>
                  <a:cubicBezTo>
                    <a:pt x="1592" y="1739"/>
                    <a:pt x="1578" y="1672"/>
                    <a:pt x="1571" y="1605"/>
                  </a:cubicBezTo>
                  <a:moveTo>
                    <a:pt x="55" y="1278"/>
                  </a:moveTo>
                  <a:cubicBezTo>
                    <a:pt x="55" y="1278"/>
                    <a:pt x="55" y="1278"/>
                    <a:pt x="55" y="1278"/>
                  </a:cubicBezTo>
                </a:path>
              </a:pathLst>
            </a:custGeom>
            <a:noFill/>
            <a:ln w="19050" cap="flat">
              <a:solidFill>
                <a:srgbClr val="009D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 76">
              <a:extLst>
                <a:ext uri="{FF2B5EF4-FFF2-40B4-BE49-F238E27FC236}">
                  <a16:creationId xmlns:a16="http://schemas.microsoft.com/office/drawing/2014/main" id="{A358FE96-FA11-4257-9DF0-8563A48EEB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4" y="440"/>
              <a:ext cx="678" cy="846"/>
            </a:xfrm>
            <a:custGeom>
              <a:avLst/>
              <a:gdLst>
                <a:gd name="T0" fmla="*/ 324 w 324"/>
                <a:gd name="T1" fmla="*/ 0 h 404"/>
                <a:gd name="T2" fmla="*/ 137 w 324"/>
                <a:gd name="T3" fmla="*/ 105 h 404"/>
                <a:gd name="T4" fmla="*/ 29 w 324"/>
                <a:gd name="T5" fmla="*/ 282 h 404"/>
                <a:gd name="T6" fmla="*/ 3 w 324"/>
                <a:gd name="T7" fmla="*/ 374 h 404"/>
                <a:gd name="T8" fmla="*/ 0 w 324"/>
                <a:gd name="T9" fmla="*/ 389 h 404"/>
                <a:gd name="T10" fmla="*/ 66 w 324"/>
                <a:gd name="T11" fmla="*/ 404 h 404"/>
                <a:gd name="T12" fmla="*/ 66 w 324"/>
                <a:gd name="T13" fmla="*/ 404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4" h="404">
                  <a:moveTo>
                    <a:pt x="324" y="0"/>
                  </a:moveTo>
                  <a:cubicBezTo>
                    <a:pt x="253" y="18"/>
                    <a:pt x="189" y="54"/>
                    <a:pt x="137" y="105"/>
                  </a:cubicBezTo>
                  <a:cubicBezTo>
                    <a:pt x="89" y="156"/>
                    <a:pt x="52" y="216"/>
                    <a:pt x="29" y="282"/>
                  </a:cubicBezTo>
                  <a:cubicBezTo>
                    <a:pt x="18" y="312"/>
                    <a:pt x="10" y="343"/>
                    <a:pt x="3" y="374"/>
                  </a:cubicBezTo>
                  <a:cubicBezTo>
                    <a:pt x="0" y="389"/>
                    <a:pt x="0" y="389"/>
                    <a:pt x="0" y="389"/>
                  </a:cubicBezTo>
                  <a:moveTo>
                    <a:pt x="66" y="404"/>
                  </a:moveTo>
                  <a:cubicBezTo>
                    <a:pt x="66" y="404"/>
                    <a:pt x="66" y="404"/>
                    <a:pt x="66" y="404"/>
                  </a:cubicBezTo>
                </a:path>
              </a:pathLst>
            </a:custGeom>
            <a:noFill/>
            <a:ln w="19050" cap="flat">
              <a:solidFill>
                <a:srgbClr val="009D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Line 77">
              <a:extLst>
                <a:ext uri="{FF2B5EF4-FFF2-40B4-BE49-F238E27FC236}">
                  <a16:creationId xmlns:a16="http://schemas.microsoft.com/office/drawing/2014/main" id="{257FFFEA-FB26-499A-A7AE-2B7030A6D1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58" y="1517"/>
              <a:ext cx="0" cy="0"/>
            </a:xfrm>
            <a:prstGeom prst="line">
              <a:avLst/>
            </a:prstGeom>
            <a:noFill/>
            <a:ln w="19050" cap="flat">
              <a:solidFill>
                <a:srgbClr val="009D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Line 78">
              <a:extLst>
                <a:ext uri="{FF2B5EF4-FFF2-40B4-BE49-F238E27FC236}">
                  <a16:creationId xmlns:a16="http://schemas.microsoft.com/office/drawing/2014/main" id="{1EC6EF13-96BB-429D-A9CB-9983F9A3B3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16" y="2852"/>
              <a:ext cx="498" cy="0"/>
            </a:xfrm>
            <a:prstGeom prst="line">
              <a:avLst/>
            </a:prstGeom>
            <a:noFill/>
            <a:ln w="19050" cap="rnd">
              <a:solidFill>
                <a:srgbClr val="009D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Line 79">
              <a:extLst>
                <a:ext uri="{FF2B5EF4-FFF2-40B4-BE49-F238E27FC236}">
                  <a16:creationId xmlns:a16="http://schemas.microsoft.com/office/drawing/2014/main" id="{69BDACB1-38EF-4641-8553-0300BD2605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16" y="3101"/>
              <a:ext cx="498" cy="0"/>
            </a:xfrm>
            <a:prstGeom prst="line">
              <a:avLst/>
            </a:prstGeom>
            <a:noFill/>
            <a:ln w="19050" cap="rnd">
              <a:solidFill>
                <a:srgbClr val="009D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 80">
              <a:extLst>
                <a:ext uri="{FF2B5EF4-FFF2-40B4-BE49-F238E27FC236}">
                  <a16:creationId xmlns:a16="http://schemas.microsoft.com/office/drawing/2014/main" id="{CE29B178-A51B-4901-B939-397D3E10E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5" y="232"/>
              <a:ext cx="1751" cy="2372"/>
            </a:xfrm>
            <a:custGeom>
              <a:avLst/>
              <a:gdLst>
                <a:gd name="T0" fmla="*/ 836 w 836"/>
                <a:gd name="T1" fmla="*/ 419 h 1132"/>
                <a:gd name="T2" fmla="*/ 413 w 836"/>
                <a:gd name="T3" fmla="*/ 4 h 1132"/>
                <a:gd name="T4" fmla="*/ 5 w 836"/>
                <a:gd name="T5" fmla="*/ 404 h 1132"/>
                <a:gd name="T6" fmla="*/ 173 w 836"/>
                <a:gd name="T7" fmla="*/ 753 h 1132"/>
                <a:gd name="T8" fmla="*/ 242 w 836"/>
                <a:gd name="T9" fmla="*/ 893 h 1132"/>
                <a:gd name="T10" fmla="*/ 242 w 836"/>
                <a:gd name="T11" fmla="*/ 1057 h 1132"/>
                <a:gd name="T12" fmla="*/ 301 w 836"/>
                <a:gd name="T13" fmla="*/ 1132 h 1132"/>
                <a:gd name="T14" fmla="*/ 539 w 836"/>
                <a:gd name="T15" fmla="*/ 1132 h 1132"/>
                <a:gd name="T16" fmla="*/ 598 w 836"/>
                <a:gd name="T17" fmla="*/ 1072 h 1132"/>
                <a:gd name="T18" fmla="*/ 598 w 836"/>
                <a:gd name="T19" fmla="*/ 893 h 1132"/>
                <a:gd name="T20" fmla="*/ 665 w 836"/>
                <a:gd name="T21" fmla="*/ 754 h 1132"/>
                <a:gd name="T22" fmla="*/ 836 w 836"/>
                <a:gd name="T23" fmla="*/ 419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6" h="1132">
                  <a:moveTo>
                    <a:pt x="836" y="419"/>
                  </a:moveTo>
                  <a:cubicBezTo>
                    <a:pt x="836" y="187"/>
                    <a:pt x="646" y="0"/>
                    <a:pt x="413" y="4"/>
                  </a:cubicBezTo>
                  <a:cubicBezTo>
                    <a:pt x="196" y="7"/>
                    <a:pt x="13" y="187"/>
                    <a:pt x="5" y="404"/>
                  </a:cubicBezTo>
                  <a:cubicBezTo>
                    <a:pt x="0" y="547"/>
                    <a:pt x="67" y="675"/>
                    <a:pt x="173" y="753"/>
                  </a:cubicBezTo>
                  <a:cubicBezTo>
                    <a:pt x="218" y="786"/>
                    <a:pt x="242" y="838"/>
                    <a:pt x="242" y="893"/>
                  </a:cubicBezTo>
                  <a:cubicBezTo>
                    <a:pt x="242" y="1057"/>
                    <a:pt x="242" y="1057"/>
                    <a:pt x="242" y="1057"/>
                  </a:cubicBezTo>
                  <a:cubicBezTo>
                    <a:pt x="242" y="1105"/>
                    <a:pt x="269" y="1132"/>
                    <a:pt x="301" y="1132"/>
                  </a:cubicBezTo>
                  <a:cubicBezTo>
                    <a:pt x="539" y="1132"/>
                    <a:pt x="539" y="1132"/>
                    <a:pt x="539" y="1132"/>
                  </a:cubicBezTo>
                  <a:cubicBezTo>
                    <a:pt x="572" y="1132"/>
                    <a:pt x="598" y="1105"/>
                    <a:pt x="598" y="1072"/>
                  </a:cubicBezTo>
                  <a:cubicBezTo>
                    <a:pt x="598" y="893"/>
                    <a:pt x="598" y="893"/>
                    <a:pt x="598" y="893"/>
                  </a:cubicBezTo>
                  <a:cubicBezTo>
                    <a:pt x="598" y="839"/>
                    <a:pt x="621" y="786"/>
                    <a:pt x="665" y="754"/>
                  </a:cubicBezTo>
                  <a:cubicBezTo>
                    <a:pt x="768" y="679"/>
                    <a:pt x="836" y="557"/>
                    <a:pt x="836" y="419"/>
                  </a:cubicBezTo>
                  <a:close/>
                </a:path>
              </a:pathLst>
            </a:custGeom>
            <a:noFill/>
            <a:ln w="19050" cap="rnd">
              <a:solidFill>
                <a:srgbClr val="009D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Line 81">
              <a:extLst>
                <a:ext uri="{FF2B5EF4-FFF2-40B4-BE49-F238E27FC236}">
                  <a16:creationId xmlns:a16="http://schemas.microsoft.com/office/drawing/2014/main" id="{E0B1A73A-E9F5-4241-AE8F-5FFEECF6A7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65" y="1483"/>
              <a:ext cx="0" cy="1121"/>
            </a:xfrm>
            <a:prstGeom prst="line">
              <a:avLst/>
            </a:prstGeom>
            <a:noFill/>
            <a:ln w="19050" cap="rnd">
              <a:solidFill>
                <a:srgbClr val="009D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Line 82">
              <a:extLst>
                <a:ext uri="{FF2B5EF4-FFF2-40B4-BE49-F238E27FC236}">
                  <a16:creationId xmlns:a16="http://schemas.microsoft.com/office/drawing/2014/main" id="{5AA6554A-53A7-4A43-8954-B2BFDEA4F0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16" y="1236"/>
              <a:ext cx="249" cy="247"/>
            </a:xfrm>
            <a:prstGeom prst="line">
              <a:avLst/>
            </a:prstGeom>
            <a:noFill/>
            <a:ln w="19050" cap="rnd">
              <a:solidFill>
                <a:srgbClr val="009D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Line 83">
              <a:extLst>
                <a:ext uri="{FF2B5EF4-FFF2-40B4-BE49-F238E27FC236}">
                  <a16:creationId xmlns:a16="http://schemas.microsoft.com/office/drawing/2014/main" id="{613DD17E-3A7F-4C4D-8063-814014663B8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865" y="1236"/>
              <a:ext cx="249" cy="247"/>
            </a:xfrm>
            <a:prstGeom prst="line">
              <a:avLst/>
            </a:prstGeom>
            <a:noFill/>
            <a:ln w="19050" cap="rnd">
              <a:solidFill>
                <a:srgbClr val="009D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1" name="TextBox 6">
            <a:extLst>
              <a:ext uri="{FF2B5EF4-FFF2-40B4-BE49-F238E27FC236}">
                <a16:creationId xmlns:a16="http://schemas.microsoft.com/office/drawing/2014/main" id="{C6244AFF-B97A-4C38-A6A3-4C3443913000}"/>
              </a:ext>
            </a:extLst>
          </p:cNvPr>
          <p:cNvSpPr txBox="1"/>
          <p:nvPr/>
        </p:nvSpPr>
        <p:spPr>
          <a:xfrm>
            <a:off x="8932918" y="1160748"/>
            <a:ext cx="1916015" cy="615553"/>
          </a:xfrm>
          <a:prstGeom prst="rect">
            <a:avLst/>
          </a:prstGeom>
          <a:noFill/>
        </p:spPr>
        <p:txBody>
          <a:bodyPr wrap="square" lIns="108000" tIns="0" rIns="108000" bIns="0" rtlCol="0" anchor="ctr">
            <a:spAutoFit/>
          </a:bodyPr>
          <a:lstStyle/>
          <a:p>
            <a:pPr lvl="0">
              <a:defRPr/>
            </a:pPr>
            <a:r>
              <a:rPr lang="sk-SK" sz="2000" b="1" dirty="0">
                <a:solidFill>
                  <a:srgbClr val="009D9C"/>
                </a:solidFill>
              </a:rPr>
              <a:t>Cieľová
skupina</a:t>
            </a:r>
            <a:endParaRPr kumimoji="0" lang="sk-SK" sz="2000" b="1" i="0" u="none" strike="noStrike" kern="1200" cap="none" spc="0" normalizeH="0" baseline="0" noProof="0" dirty="0">
              <a:ln>
                <a:noFill/>
              </a:ln>
              <a:solidFill>
                <a:srgbClr val="009D9C"/>
              </a:solidFill>
              <a:effectLst/>
              <a:uLnTx/>
              <a:uFillTx/>
              <a:latin typeface="Arial" panose="020B0604020202020204"/>
            </a:endParaRPr>
          </a:p>
        </p:txBody>
      </p:sp>
      <p:cxnSp>
        <p:nvCxnSpPr>
          <p:cNvPr id="82" name="Straight Connector 3">
            <a:extLst>
              <a:ext uri="{FF2B5EF4-FFF2-40B4-BE49-F238E27FC236}">
                <a16:creationId xmlns:a16="http://schemas.microsoft.com/office/drawing/2014/main" id="{AD239270-2373-4F66-85DF-DFD1BFEF5695}"/>
              </a:ext>
            </a:extLst>
          </p:cNvPr>
          <p:cNvCxnSpPr>
            <a:cxnSpLocks/>
          </p:cNvCxnSpPr>
          <p:nvPr/>
        </p:nvCxnSpPr>
        <p:spPr>
          <a:xfrm>
            <a:off x="891484" y="4624564"/>
            <a:ext cx="2431638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3">
            <a:extLst>
              <a:ext uri="{FF2B5EF4-FFF2-40B4-BE49-F238E27FC236}">
                <a16:creationId xmlns:a16="http://schemas.microsoft.com/office/drawing/2014/main" id="{280EEF02-F95D-4DD0-8F5D-9547297B1E70}"/>
              </a:ext>
            </a:extLst>
          </p:cNvPr>
          <p:cNvCxnSpPr>
            <a:cxnSpLocks/>
          </p:cNvCxnSpPr>
          <p:nvPr/>
        </p:nvCxnSpPr>
        <p:spPr>
          <a:xfrm>
            <a:off x="5043408" y="4624564"/>
            <a:ext cx="2431638" cy="0"/>
          </a:xfrm>
          <a:prstGeom prst="line">
            <a:avLst/>
          </a:prstGeom>
          <a:ln w="28575">
            <a:solidFill>
              <a:srgbClr val="0076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3">
            <a:extLst>
              <a:ext uri="{FF2B5EF4-FFF2-40B4-BE49-F238E27FC236}">
                <a16:creationId xmlns:a16="http://schemas.microsoft.com/office/drawing/2014/main" id="{7CF8E95A-5794-42FA-9A3D-89D72418ECBC}"/>
              </a:ext>
            </a:extLst>
          </p:cNvPr>
          <p:cNvCxnSpPr>
            <a:cxnSpLocks/>
          </p:cNvCxnSpPr>
          <p:nvPr/>
        </p:nvCxnSpPr>
        <p:spPr>
          <a:xfrm>
            <a:off x="8490887" y="4615643"/>
            <a:ext cx="2431638" cy="0"/>
          </a:xfrm>
          <a:prstGeom prst="line">
            <a:avLst/>
          </a:prstGeom>
          <a:ln w="28575">
            <a:solidFill>
              <a:srgbClr val="009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6">
            <a:extLst>
              <a:ext uri="{FF2B5EF4-FFF2-40B4-BE49-F238E27FC236}">
                <a16:creationId xmlns:a16="http://schemas.microsoft.com/office/drawing/2014/main" id="{E4282AD1-A282-400E-BB5B-88E8575175FD}"/>
              </a:ext>
            </a:extLst>
          </p:cNvPr>
          <p:cNvSpPr txBox="1"/>
          <p:nvPr/>
        </p:nvSpPr>
        <p:spPr>
          <a:xfrm>
            <a:off x="1335304" y="3942729"/>
            <a:ext cx="1916015" cy="615553"/>
          </a:xfrm>
          <a:prstGeom prst="rect">
            <a:avLst/>
          </a:prstGeom>
          <a:noFill/>
        </p:spPr>
        <p:txBody>
          <a:bodyPr wrap="square" lIns="108000" tIns="0" rIns="108000" bIns="0" rtlCol="0" anchor="ctr">
            <a:spAutoFit/>
          </a:bodyPr>
          <a:lstStyle/>
          <a:p>
            <a:pPr lvl="0">
              <a:defRPr/>
            </a:pPr>
            <a:r>
              <a:rPr lang="sk-SK" sz="2000" b="1" dirty="0">
                <a:solidFill>
                  <a:srgbClr val="233575"/>
                </a:solidFill>
              </a:rPr>
              <a:t>Výskumný nástroj</a:t>
            </a:r>
            <a:endParaRPr kumimoji="0" lang="sk-SK" sz="2000" b="1" i="0" u="none" strike="noStrike" kern="1200" cap="none" spc="0" normalizeH="0" baseline="0" noProof="0" dirty="0">
              <a:ln>
                <a:noFill/>
              </a:ln>
              <a:solidFill>
                <a:srgbClr val="233575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86" name="TextBox 6">
            <a:extLst>
              <a:ext uri="{FF2B5EF4-FFF2-40B4-BE49-F238E27FC236}">
                <a16:creationId xmlns:a16="http://schemas.microsoft.com/office/drawing/2014/main" id="{5572754A-583E-4BE6-984D-E8A9F40165C1}"/>
              </a:ext>
            </a:extLst>
          </p:cNvPr>
          <p:cNvSpPr txBox="1"/>
          <p:nvPr/>
        </p:nvSpPr>
        <p:spPr>
          <a:xfrm>
            <a:off x="5499510" y="3965778"/>
            <a:ext cx="1916015" cy="615553"/>
          </a:xfrm>
          <a:prstGeom prst="rect">
            <a:avLst/>
          </a:prstGeom>
          <a:noFill/>
        </p:spPr>
        <p:txBody>
          <a:bodyPr wrap="square" lIns="108000" tIns="0" rIns="108000" bIns="0" rtlCol="0" anchor="ctr">
            <a:spAutoFit/>
          </a:bodyPr>
          <a:lstStyle/>
          <a:p>
            <a:pPr lvl="0">
              <a:defRPr/>
            </a:pPr>
            <a:r>
              <a:rPr lang="sk-SK" sz="2000" b="1" dirty="0">
                <a:solidFill>
                  <a:srgbClr val="007675"/>
                </a:solidFill>
              </a:rPr>
              <a:t>Termín
zberu dát</a:t>
            </a:r>
            <a:endParaRPr kumimoji="0" lang="sk-SK" sz="2000" b="1" i="0" u="none" strike="noStrike" kern="1200" cap="none" spc="0" normalizeH="0" baseline="0" noProof="0" dirty="0">
              <a:ln>
                <a:noFill/>
              </a:ln>
              <a:solidFill>
                <a:srgbClr val="007675"/>
              </a:solidFill>
              <a:effectLst/>
              <a:uLnTx/>
              <a:uFillTx/>
              <a:latin typeface="Arial" panose="020B0604020202020204"/>
            </a:endParaRPr>
          </a:p>
        </p:txBody>
      </p:sp>
      <p:grpSp>
        <p:nvGrpSpPr>
          <p:cNvPr id="87" name="Group 51">
            <a:extLst>
              <a:ext uri="{FF2B5EF4-FFF2-40B4-BE49-F238E27FC236}">
                <a16:creationId xmlns:a16="http://schemas.microsoft.com/office/drawing/2014/main" id="{E0CED42E-50EF-4BE9-B4A8-01B94B2A629D}"/>
              </a:ext>
            </a:extLst>
          </p:cNvPr>
          <p:cNvGrpSpPr>
            <a:grpSpLocks/>
          </p:cNvGrpSpPr>
          <p:nvPr/>
        </p:nvGrpSpPr>
        <p:grpSpPr bwMode="auto">
          <a:xfrm>
            <a:off x="8490887" y="3928804"/>
            <a:ext cx="403341" cy="469021"/>
            <a:chOff x="2123" y="1662"/>
            <a:chExt cx="871" cy="1014"/>
          </a:xfrm>
        </p:grpSpPr>
        <p:sp>
          <p:nvSpPr>
            <p:cNvPr id="88" name="Freeform 52">
              <a:extLst>
                <a:ext uri="{FF2B5EF4-FFF2-40B4-BE49-F238E27FC236}">
                  <a16:creationId xmlns:a16="http://schemas.microsoft.com/office/drawing/2014/main" id="{C83C1B86-94EC-472E-9A7C-4C32F937B5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0" y="2337"/>
              <a:ext cx="177" cy="78"/>
            </a:xfrm>
            <a:custGeom>
              <a:avLst/>
              <a:gdLst>
                <a:gd name="T0" fmla="*/ 177 w 177"/>
                <a:gd name="T1" fmla="*/ 0 h 78"/>
                <a:gd name="T2" fmla="*/ 89 w 177"/>
                <a:gd name="T3" fmla="*/ 78 h 78"/>
                <a:gd name="T4" fmla="*/ 0 w 177"/>
                <a:gd name="T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7" h="78">
                  <a:moveTo>
                    <a:pt x="177" y="0"/>
                  </a:moveTo>
                  <a:lnTo>
                    <a:pt x="89" y="78"/>
                  </a:ln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rgbClr val="009D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 53">
              <a:extLst>
                <a:ext uri="{FF2B5EF4-FFF2-40B4-BE49-F238E27FC236}">
                  <a16:creationId xmlns:a16="http://schemas.microsoft.com/office/drawing/2014/main" id="{4CCA1E7C-C82F-487F-9D40-94F8E8BF8E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3" y="1898"/>
              <a:ext cx="871" cy="778"/>
            </a:xfrm>
            <a:custGeom>
              <a:avLst/>
              <a:gdLst>
                <a:gd name="T0" fmla="*/ 302 w 414"/>
                <a:gd name="T1" fmla="*/ 0 h 370"/>
                <a:gd name="T2" fmla="*/ 321 w 414"/>
                <a:gd name="T3" fmla="*/ 31 h 370"/>
                <a:gd name="T4" fmla="*/ 300 w 414"/>
                <a:gd name="T5" fmla="*/ 63 h 370"/>
                <a:gd name="T6" fmla="*/ 260 w 414"/>
                <a:gd name="T7" fmla="*/ 125 h 370"/>
                <a:gd name="T8" fmla="*/ 263 w 414"/>
                <a:gd name="T9" fmla="*/ 152 h 370"/>
                <a:gd name="T10" fmla="*/ 269 w 414"/>
                <a:gd name="T11" fmla="*/ 163 h 370"/>
                <a:gd name="T12" fmla="*/ 273 w 414"/>
                <a:gd name="T13" fmla="*/ 165 h 370"/>
                <a:gd name="T14" fmla="*/ 341 w 414"/>
                <a:gd name="T15" fmla="*/ 184 h 370"/>
                <a:gd name="T16" fmla="*/ 368 w 414"/>
                <a:gd name="T17" fmla="*/ 198 h 370"/>
                <a:gd name="T18" fmla="*/ 395 w 414"/>
                <a:gd name="T19" fmla="*/ 243 h 370"/>
                <a:gd name="T20" fmla="*/ 414 w 414"/>
                <a:gd name="T21" fmla="*/ 344 h 370"/>
                <a:gd name="T22" fmla="*/ 207 w 414"/>
                <a:gd name="T23" fmla="*/ 370 h 370"/>
                <a:gd name="T24" fmla="*/ 0 w 414"/>
                <a:gd name="T25" fmla="*/ 344 h 370"/>
                <a:gd name="T26" fmla="*/ 19 w 414"/>
                <a:gd name="T27" fmla="*/ 243 h 370"/>
                <a:gd name="T28" fmla="*/ 46 w 414"/>
                <a:gd name="T29" fmla="*/ 198 h 370"/>
                <a:gd name="T30" fmla="*/ 72 w 414"/>
                <a:gd name="T31" fmla="*/ 184 h 370"/>
                <a:gd name="T32" fmla="*/ 140 w 414"/>
                <a:gd name="T33" fmla="*/ 165 h 370"/>
                <a:gd name="T34" fmla="*/ 144 w 414"/>
                <a:gd name="T35" fmla="*/ 163 h 370"/>
                <a:gd name="T36" fmla="*/ 151 w 414"/>
                <a:gd name="T37" fmla="*/ 152 h 370"/>
                <a:gd name="T38" fmla="*/ 154 w 414"/>
                <a:gd name="T39" fmla="*/ 125 h 370"/>
                <a:gd name="T40" fmla="*/ 114 w 414"/>
                <a:gd name="T41" fmla="*/ 63 h 370"/>
                <a:gd name="T42" fmla="*/ 93 w 414"/>
                <a:gd name="T43" fmla="*/ 31 h 370"/>
                <a:gd name="T44" fmla="*/ 111 w 414"/>
                <a:gd name="T45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14" h="370">
                  <a:moveTo>
                    <a:pt x="302" y="0"/>
                  </a:moveTo>
                  <a:cubicBezTo>
                    <a:pt x="313" y="3"/>
                    <a:pt x="321" y="16"/>
                    <a:pt x="321" y="31"/>
                  </a:cubicBezTo>
                  <a:cubicBezTo>
                    <a:pt x="321" y="48"/>
                    <a:pt x="312" y="62"/>
                    <a:pt x="300" y="63"/>
                  </a:cubicBezTo>
                  <a:cubicBezTo>
                    <a:pt x="293" y="89"/>
                    <a:pt x="279" y="111"/>
                    <a:pt x="260" y="125"/>
                  </a:cubicBezTo>
                  <a:cubicBezTo>
                    <a:pt x="263" y="152"/>
                    <a:pt x="263" y="152"/>
                    <a:pt x="263" y="152"/>
                  </a:cubicBezTo>
                  <a:cubicBezTo>
                    <a:pt x="263" y="157"/>
                    <a:pt x="266" y="160"/>
                    <a:pt x="269" y="163"/>
                  </a:cubicBezTo>
                  <a:cubicBezTo>
                    <a:pt x="271" y="164"/>
                    <a:pt x="272" y="164"/>
                    <a:pt x="273" y="165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50" y="186"/>
                    <a:pt x="359" y="191"/>
                    <a:pt x="368" y="198"/>
                  </a:cubicBezTo>
                  <a:cubicBezTo>
                    <a:pt x="381" y="210"/>
                    <a:pt x="391" y="226"/>
                    <a:pt x="395" y="243"/>
                  </a:cubicBezTo>
                  <a:cubicBezTo>
                    <a:pt x="414" y="344"/>
                    <a:pt x="414" y="344"/>
                    <a:pt x="414" y="344"/>
                  </a:cubicBezTo>
                  <a:cubicBezTo>
                    <a:pt x="414" y="344"/>
                    <a:pt x="317" y="370"/>
                    <a:pt x="207" y="370"/>
                  </a:cubicBezTo>
                  <a:cubicBezTo>
                    <a:pt x="96" y="370"/>
                    <a:pt x="0" y="344"/>
                    <a:pt x="0" y="344"/>
                  </a:cubicBezTo>
                  <a:cubicBezTo>
                    <a:pt x="19" y="243"/>
                    <a:pt x="19" y="243"/>
                    <a:pt x="19" y="243"/>
                  </a:cubicBezTo>
                  <a:cubicBezTo>
                    <a:pt x="23" y="226"/>
                    <a:pt x="32" y="210"/>
                    <a:pt x="46" y="198"/>
                  </a:cubicBezTo>
                  <a:cubicBezTo>
                    <a:pt x="55" y="191"/>
                    <a:pt x="64" y="186"/>
                    <a:pt x="72" y="184"/>
                  </a:cubicBezTo>
                  <a:cubicBezTo>
                    <a:pt x="140" y="165"/>
                    <a:pt x="140" y="165"/>
                    <a:pt x="140" y="165"/>
                  </a:cubicBezTo>
                  <a:cubicBezTo>
                    <a:pt x="142" y="164"/>
                    <a:pt x="143" y="164"/>
                    <a:pt x="144" y="163"/>
                  </a:cubicBezTo>
                  <a:cubicBezTo>
                    <a:pt x="148" y="160"/>
                    <a:pt x="150" y="157"/>
                    <a:pt x="151" y="152"/>
                  </a:cubicBezTo>
                  <a:cubicBezTo>
                    <a:pt x="154" y="125"/>
                    <a:pt x="154" y="125"/>
                    <a:pt x="154" y="125"/>
                  </a:cubicBezTo>
                  <a:cubicBezTo>
                    <a:pt x="135" y="111"/>
                    <a:pt x="121" y="89"/>
                    <a:pt x="114" y="63"/>
                  </a:cubicBezTo>
                  <a:cubicBezTo>
                    <a:pt x="102" y="62"/>
                    <a:pt x="93" y="48"/>
                    <a:pt x="93" y="31"/>
                  </a:cubicBezTo>
                  <a:cubicBezTo>
                    <a:pt x="93" y="16"/>
                    <a:pt x="100" y="3"/>
                    <a:pt x="111" y="0"/>
                  </a:cubicBezTo>
                </a:path>
              </a:pathLst>
            </a:custGeom>
            <a:noFill/>
            <a:ln w="19050" cap="rnd">
              <a:solidFill>
                <a:srgbClr val="009D9C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 54">
              <a:extLst>
                <a:ext uri="{FF2B5EF4-FFF2-40B4-BE49-F238E27FC236}">
                  <a16:creationId xmlns:a16="http://schemas.microsoft.com/office/drawing/2014/main" id="{714E964F-A370-4B45-B551-FD1FCCF518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6" y="1662"/>
              <a:ext cx="425" cy="236"/>
            </a:xfrm>
            <a:custGeom>
              <a:avLst/>
              <a:gdLst>
                <a:gd name="T0" fmla="*/ 196 w 202"/>
                <a:gd name="T1" fmla="*/ 112 h 112"/>
                <a:gd name="T2" fmla="*/ 101 w 202"/>
                <a:gd name="T3" fmla="*/ 0 h 112"/>
                <a:gd name="T4" fmla="*/ 5 w 202"/>
                <a:gd name="T5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2" h="112">
                  <a:moveTo>
                    <a:pt x="196" y="112"/>
                  </a:moveTo>
                  <a:cubicBezTo>
                    <a:pt x="196" y="112"/>
                    <a:pt x="202" y="0"/>
                    <a:pt x="101" y="0"/>
                  </a:cubicBezTo>
                  <a:cubicBezTo>
                    <a:pt x="0" y="0"/>
                    <a:pt x="5" y="112"/>
                    <a:pt x="5" y="112"/>
                  </a:cubicBezTo>
                </a:path>
              </a:pathLst>
            </a:custGeom>
            <a:noFill/>
            <a:ln w="19050" cap="rnd">
              <a:solidFill>
                <a:srgbClr val="009D9C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 55">
              <a:extLst>
                <a:ext uri="{FF2B5EF4-FFF2-40B4-BE49-F238E27FC236}">
                  <a16:creationId xmlns:a16="http://schemas.microsoft.com/office/drawing/2014/main" id="{476CF3D2-9C10-411C-912D-62101ADB1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1" y="1750"/>
              <a:ext cx="373" cy="70"/>
            </a:xfrm>
            <a:custGeom>
              <a:avLst/>
              <a:gdLst>
                <a:gd name="T0" fmla="*/ 0 w 177"/>
                <a:gd name="T1" fmla="*/ 22 h 33"/>
                <a:gd name="T2" fmla="*/ 20 w 177"/>
                <a:gd name="T3" fmla="*/ 5 h 33"/>
                <a:gd name="T4" fmla="*/ 62 w 177"/>
                <a:gd name="T5" fmla="*/ 10 h 33"/>
                <a:gd name="T6" fmla="*/ 120 w 177"/>
                <a:gd name="T7" fmla="*/ 31 h 33"/>
                <a:gd name="T8" fmla="*/ 177 w 177"/>
                <a:gd name="T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33">
                  <a:moveTo>
                    <a:pt x="0" y="22"/>
                  </a:moveTo>
                  <a:cubicBezTo>
                    <a:pt x="4" y="14"/>
                    <a:pt x="12" y="8"/>
                    <a:pt x="20" y="5"/>
                  </a:cubicBezTo>
                  <a:cubicBezTo>
                    <a:pt x="34" y="0"/>
                    <a:pt x="49" y="4"/>
                    <a:pt x="62" y="10"/>
                  </a:cubicBezTo>
                  <a:cubicBezTo>
                    <a:pt x="81" y="18"/>
                    <a:pt x="98" y="29"/>
                    <a:pt x="120" y="31"/>
                  </a:cubicBezTo>
                  <a:cubicBezTo>
                    <a:pt x="140" y="33"/>
                    <a:pt x="159" y="31"/>
                    <a:pt x="177" y="22"/>
                  </a:cubicBezTo>
                </a:path>
              </a:pathLst>
            </a:custGeom>
            <a:noFill/>
            <a:ln w="19050" cap="rnd">
              <a:solidFill>
                <a:srgbClr val="009D9C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 56">
              <a:extLst>
                <a:ext uri="{FF2B5EF4-FFF2-40B4-BE49-F238E27FC236}">
                  <a16:creationId xmlns:a16="http://schemas.microsoft.com/office/drawing/2014/main" id="{090DF8B2-7C4D-4C37-AF2D-97CA091AA9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1" y="2205"/>
              <a:ext cx="233" cy="105"/>
            </a:xfrm>
            <a:custGeom>
              <a:avLst/>
              <a:gdLst>
                <a:gd name="T0" fmla="*/ 233 w 233"/>
                <a:gd name="T1" fmla="*/ 0 h 105"/>
                <a:gd name="T2" fmla="*/ 118 w 233"/>
                <a:gd name="T3" fmla="*/ 105 h 105"/>
                <a:gd name="T4" fmla="*/ 0 w 233"/>
                <a:gd name="T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3" h="105">
                  <a:moveTo>
                    <a:pt x="233" y="0"/>
                  </a:moveTo>
                  <a:lnTo>
                    <a:pt x="118" y="105"/>
                  </a:ln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rgbClr val="009D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Line 57">
              <a:extLst>
                <a:ext uri="{FF2B5EF4-FFF2-40B4-BE49-F238E27FC236}">
                  <a16:creationId xmlns:a16="http://schemas.microsoft.com/office/drawing/2014/main" id="{E074ED73-712B-49C3-8B20-5EDD12D5AC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44" y="2460"/>
              <a:ext cx="132" cy="25"/>
            </a:xfrm>
            <a:prstGeom prst="line">
              <a:avLst/>
            </a:prstGeom>
            <a:noFill/>
            <a:ln w="19050" cap="rnd">
              <a:solidFill>
                <a:srgbClr val="009D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4" name="TextBox 6">
            <a:extLst>
              <a:ext uri="{FF2B5EF4-FFF2-40B4-BE49-F238E27FC236}">
                <a16:creationId xmlns:a16="http://schemas.microsoft.com/office/drawing/2014/main" id="{2C8362D6-6FB9-4A55-A71D-1F1337AFD612}"/>
              </a:ext>
            </a:extLst>
          </p:cNvPr>
          <p:cNvSpPr txBox="1"/>
          <p:nvPr/>
        </p:nvSpPr>
        <p:spPr>
          <a:xfrm>
            <a:off x="8868308" y="4064442"/>
            <a:ext cx="1916015" cy="307777"/>
          </a:xfrm>
          <a:prstGeom prst="rect">
            <a:avLst/>
          </a:prstGeom>
          <a:noFill/>
        </p:spPr>
        <p:txBody>
          <a:bodyPr wrap="square" lIns="108000" tIns="0" rIns="108000" bIns="0" rtlCol="0" anchor="ctr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2000" b="1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akty</a:t>
            </a:r>
          </a:p>
        </p:txBody>
      </p:sp>
      <p:pic>
        <p:nvPicPr>
          <p:cNvPr id="95" name="Obrázek 94">
            <a:extLst>
              <a:ext uri="{FF2B5EF4-FFF2-40B4-BE49-F238E27FC236}">
                <a16:creationId xmlns:a16="http://schemas.microsoft.com/office/drawing/2014/main" id="{EEFAACE3-3115-4808-8579-4A85D823B1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2955" y="6201308"/>
            <a:ext cx="1512168" cy="461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407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0D6761A9-85DA-407C-AE82-2FB167DAF98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43371" y="459718"/>
            <a:ext cx="8402757" cy="1323439"/>
          </a:xfrm>
        </p:spPr>
        <p:txBody>
          <a:bodyPr/>
          <a:lstStyle/>
          <a:p>
            <a:r>
              <a:rPr lang="cs-CZ" dirty="0"/>
              <a:t>DEZINFORMÁCIE A ICH IDENTIFIKÁCIA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8367010-16FD-4BAF-8451-A747E6285F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2955" y="6201308"/>
            <a:ext cx="1512168" cy="461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7066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272ECB4-4795-E99A-CDCE-4C048A224B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4291819"/>
              </p:ext>
            </p:extLst>
          </p:nvPr>
        </p:nvGraphicFramePr>
        <p:xfrm>
          <a:off x="507471" y="1729321"/>
          <a:ext cx="5587119" cy="4433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8" name="Přímá spojnice 17">
            <a:extLst>
              <a:ext uri="{FF2B5EF4-FFF2-40B4-BE49-F238E27FC236}">
                <a16:creationId xmlns:a16="http://schemas.microsoft.com/office/drawing/2014/main" id="{66988079-84DA-FA44-F24E-ED4F014EC4EA}"/>
              </a:ext>
            </a:extLst>
          </p:cNvPr>
          <p:cNvCxnSpPr>
            <a:cxnSpLocks/>
            <a:stCxn id="15" idx="1"/>
          </p:cNvCxnSpPr>
          <p:nvPr/>
        </p:nvCxnSpPr>
        <p:spPr>
          <a:xfrm>
            <a:off x="6103058" y="1491358"/>
            <a:ext cx="0" cy="4530030"/>
          </a:xfrm>
          <a:prstGeom prst="line">
            <a:avLst/>
          </a:prstGeom>
          <a:ln w="15875" cmpd="sng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02138AFC-50E6-A1C8-3FB3-8651735DBF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k-SK" dirty="0"/>
              <a:t>Aktuálne meranie neprinieslo prekvapivé výsledky. Vnímanie sa po prvotných posunoch v prvej polovici 2022 stabilizovalo. Mierne vzrástol počet tých, ktorí na túto otázku nemajú názor.</a:t>
            </a:r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6BE56714-4728-1597-A500-EDE8787C1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sz="2000" b="1" dirty="0">
                <a:solidFill>
                  <a:srgbClr val="002060"/>
                </a:solidFill>
                <a:latin typeface="Arial Black" panose="020B0A04020102020204" pitchFamily="34" charset="0"/>
              </a:rPr>
              <a:t>VÝVOJ VNÍMANIA INFORMAČNEJ VOJNY NA SLOVENSKU</a:t>
            </a:r>
            <a:endParaRPr lang="sk-SK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62F8BF3C-EF4B-4C27-A0A3-7EB203CC35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8641946"/>
              </p:ext>
            </p:extLst>
          </p:nvPr>
        </p:nvGraphicFramePr>
        <p:xfrm>
          <a:off x="6096000" y="1729321"/>
          <a:ext cx="5587200" cy="46304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B30D171D-A7B6-0A59-4F53-FA14D4514E05}"/>
              </a:ext>
            </a:extLst>
          </p:cNvPr>
          <p:cNvSpPr/>
          <p:nvPr/>
        </p:nvSpPr>
        <p:spPr>
          <a:xfrm>
            <a:off x="515938" y="1369403"/>
            <a:ext cx="5587118" cy="24391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k-SK" sz="1600" b="1" dirty="0">
                <a:solidFill>
                  <a:srgbClr val="FFFFFF"/>
                </a:solidFill>
                <a:latin typeface="Arial" panose="020B0604020202020204"/>
              </a:rPr>
              <a:t>2022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C67B638D-3330-35D2-B86F-CD5727CCACA2}"/>
              </a:ext>
            </a:extLst>
          </p:cNvPr>
          <p:cNvSpPr/>
          <p:nvPr/>
        </p:nvSpPr>
        <p:spPr>
          <a:xfrm>
            <a:off x="6103058" y="1369403"/>
            <a:ext cx="5587116" cy="24391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600" b="1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3</a:t>
            </a:r>
          </a:p>
        </p:txBody>
      </p:sp>
      <p:sp>
        <p:nvSpPr>
          <p:cNvPr id="19" name="Zástupný text 3">
            <a:extLst>
              <a:ext uri="{FF2B5EF4-FFF2-40B4-BE49-F238E27FC236}">
                <a16:creationId xmlns:a16="http://schemas.microsoft.com/office/drawing/2014/main" id="{CF6DB5B6-5494-A313-1F7D-8C2CB9B67198}"/>
              </a:ext>
            </a:extLst>
          </p:cNvPr>
          <p:cNvSpPr txBox="1">
            <a:spLocks/>
          </p:cNvSpPr>
          <p:nvPr/>
        </p:nvSpPr>
        <p:spPr>
          <a:xfrm>
            <a:off x="515938" y="6397798"/>
            <a:ext cx="10586475" cy="46166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i="1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sk-SK" dirty="0">
                <a:solidFill>
                  <a:srgbClr val="000000"/>
                </a:solidFill>
              </a:rPr>
              <a:t>Báza: apríl 2022 n=1024; máj 2022 n = 1029; jún 2022 n = 1004; júl 2022 n = 1042; marec 2023 n=1017
Otázka: Q1. Ktoré z nasledujúcich tvrdení najlepšie vystihuje váš pohľad na vojnový konflikt na Ukrajine, resp. jeho vplyv na Slovensko/ Českú republiku. 
</a:t>
            </a:r>
            <a:endParaRPr kumimoji="0" lang="sk-SK" sz="1000" b="0" i="1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E47D8995-4F0C-443A-AD9B-5B959F1636E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2955" y="6201308"/>
            <a:ext cx="1512168" cy="461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6575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5272ECB4-4795-E99A-CDCE-4C048A224B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1734401"/>
              </p:ext>
            </p:extLst>
          </p:nvPr>
        </p:nvGraphicFramePr>
        <p:xfrm>
          <a:off x="507471" y="1729321"/>
          <a:ext cx="5587119" cy="4433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8" name="Přímá spojnice 17">
            <a:extLst>
              <a:ext uri="{FF2B5EF4-FFF2-40B4-BE49-F238E27FC236}">
                <a16:creationId xmlns:a16="http://schemas.microsoft.com/office/drawing/2014/main" id="{66988079-84DA-FA44-F24E-ED4F014EC4EA}"/>
              </a:ext>
            </a:extLst>
          </p:cNvPr>
          <p:cNvCxnSpPr>
            <a:cxnSpLocks/>
            <a:stCxn id="15" idx="1"/>
          </p:cNvCxnSpPr>
          <p:nvPr/>
        </p:nvCxnSpPr>
        <p:spPr>
          <a:xfrm>
            <a:off x="6103058" y="1491358"/>
            <a:ext cx="0" cy="4530030"/>
          </a:xfrm>
          <a:prstGeom prst="line">
            <a:avLst/>
          </a:prstGeom>
          <a:ln w="15875" cmpd="sng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02138AFC-50E6-A1C8-3FB3-8651735DBF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591" y="512676"/>
            <a:ext cx="11934000" cy="642385"/>
          </a:xfrm>
        </p:spPr>
        <p:txBody>
          <a:bodyPr/>
          <a:lstStyle/>
          <a:p>
            <a:r>
              <a:rPr lang="cs-CZ" dirty="0" err="1"/>
              <a:t>Česi</a:t>
            </a:r>
            <a:r>
              <a:rPr lang="cs-CZ" dirty="0"/>
              <a:t> </a:t>
            </a:r>
            <a:r>
              <a:rPr lang="cs-CZ" dirty="0" err="1"/>
              <a:t>postupom</a:t>
            </a:r>
            <a:r>
              <a:rPr lang="cs-CZ" dirty="0"/>
              <a:t> času </a:t>
            </a:r>
            <a:r>
              <a:rPr lang="cs-CZ" dirty="0" err="1"/>
              <a:t>menej</a:t>
            </a:r>
            <a:r>
              <a:rPr lang="cs-CZ" dirty="0"/>
              <a:t> často </a:t>
            </a:r>
            <a:r>
              <a:rPr lang="cs-CZ" dirty="0" err="1"/>
              <a:t>uvádzajú</a:t>
            </a:r>
            <a:r>
              <a:rPr lang="cs-CZ" dirty="0"/>
              <a:t>, že ČR je </a:t>
            </a:r>
            <a:r>
              <a:rPr lang="cs-CZ" dirty="0" err="1"/>
              <a:t>súčasťou</a:t>
            </a:r>
            <a:r>
              <a:rPr lang="cs-CZ" dirty="0"/>
              <a:t> </a:t>
            </a:r>
            <a:r>
              <a:rPr lang="cs-CZ" dirty="0" err="1"/>
              <a:t>informačnej</a:t>
            </a:r>
            <a:r>
              <a:rPr lang="cs-CZ" dirty="0"/>
              <a:t> vojny, </a:t>
            </a:r>
            <a:r>
              <a:rPr lang="cs-CZ" dirty="0" err="1"/>
              <a:t>ktorú</a:t>
            </a:r>
            <a:r>
              <a:rPr lang="cs-CZ" dirty="0"/>
              <a:t> </a:t>
            </a:r>
            <a:r>
              <a:rPr lang="cs-CZ" dirty="0" err="1"/>
              <a:t>vedie</a:t>
            </a:r>
            <a:r>
              <a:rPr lang="cs-CZ" dirty="0"/>
              <a:t> Rusko </a:t>
            </a:r>
            <a:r>
              <a:rPr lang="cs-CZ" dirty="0" err="1"/>
              <a:t>voči</a:t>
            </a:r>
            <a:r>
              <a:rPr lang="cs-CZ" dirty="0"/>
              <a:t> </a:t>
            </a:r>
            <a:r>
              <a:rPr lang="cs-CZ" dirty="0" err="1"/>
              <a:t>západným</a:t>
            </a:r>
            <a:r>
              <a:rPr lang="cs-CZ" dirty="0"/>
              <a:t> krajinám. Rok po vypuknutí vojny </a:t>
            </a:r>
            <a:r>
              <a:rPr lang="cs-CZ" dirty="0" err="1"/>
              <a:t>tiež</a:t>
            </a:r>
            <a:r>
              <a:rPr lang="cs-CZ" dirty="0"/>
              <a:t> </a:t>
            </a:r>
            <a:r>
              <a:rPr lang="cs-CZ" dirty="0" err="1"/>
              <a:t>častejšie</a:t>
            </a:r>
            <a:r>
              <a:rPr lang="cs-CZ" dirty="0"/>
              <a:t> </a:t>
            </a:r>
            <a:r>
              <a:rPr lang="cs-CZ" dirty="0" err="1"/>
              <a:t>uvádzajú</a:t>
            </a:r>
            <a:r>
              <a:rPr lang="cs-CZ" dirty="0"/>
              <a:t>. že </a:t>
            </a:r>
            <a:r>
              <a:rPr lang="cs-CZ" dirty="0" err="1"/>
              <a:t>informačná</a:t>
            </a:r>
            <a:r>
              <a:rPr lang="cs-CZ" dirty="0"/>
              <a:t> vojna je len </a:t>
            </a:r>
            <a:r>
              <a:rPr lang="cs-CZ" dirty="0" err="1"/>
              <a:t>zámienkou</a:t>
            </a:r>
            <a:r>
              <a:rPr lang="cs-CZ" dirty="0"/>
              <a:t> vlád na </a:t>
            </a:r>
            <a:r>
              <a:rPr lang="cs-CZ" dirty="0" err="1"/>
              <a:t>obmedzovanie</a:t>
            </a:r>
            <a:r>
              <a:rPr lang="cs-CZ" dirty="0"/>
              <a:t> </a:t>
            </a:r>
            <a:r>
              <a:rPr lang="cs-CZ" dirty="0" err="1"/>
              <a:t>slobody</a:t>
            </a:r>
            <a:r>
              <a:rPr lang="cs-CZ" dirty="0"/>
              <a:t> </a:t>
            </a:r>
            <a:r>
              <a:rPr lang="cs-CZ" dirty="0" err="1"/>
              <a:t>prejavu</a:t>
            </a:r>
            <a:r>
              <a:rPr lang="cs-CZ" dirty="0"/>
              <a:t>.</a:t>
            </a:r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6BE56714-4728-1597-A500-EDE8787C1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000" b="1" dirty="0">
                <a:solidFill>
                  <a:srgbClr val="002060"/>
                </a:solidFill>
                <a:latin typeface="Arial Black" panose="020B0A04020102020204" pitchFamily="34" charset="0"/>
              </a:rPr>
              <a:t>VÝVOJ VNÍMANIA INFORMAČNEJ VOJNY V ČESKEJ REPUBLIKE</a:t>
            </a:r>
            <a:endParaRPr lang="cs-CZ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62F8BF3C-EF4B-4C27-A0A3-7EB203CC35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2087372"/>
              </p:ext>
            </p:extLst>
          </p:nvPr>
        </p:nvGraphicFramePr>
        <p:xfrm>
          <a:off x="6096000" y="1743835"/>
          <a:ext cx="5587200" cy="4433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B30D171D-A7B6-0A59-4F53-FA14D4514E05}"/>
              </a:ext>
            </a:extLst>
          </p:cNvPr>
          <p:cNvSpPr/>
          <p:nvPr/>
        </p:nvSpPr>
        <p:spPr>
          <a:xfrm>
            <a:off x="515938" y="1369403"/>
            <a:ext cx="5587118" cy="24391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b="1" dirty="0">
                <a:solidFill>
                  <a:srgbClr val="FFFFFF"/>
                </a:solidFill>
                <a:latin typeface="Arial" panose="020B0604020202020204"/>
              </a:rPr>
              <a:t>2022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C67B638D-3330-35D2-B86F-CD5727CCACA2}"/>
              </a:ext>
            </a:extLst>
          </p:cNvPr>
          <p:cNvSpPr/>
          <p:nvPr/>
        </p:nvSpPr>
        <p:spPr>
          <a:xfrm>
            <a:off x="6103058" y="1369403"/>
            <a:ext cx="5587116" cy="24391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3</a:t>
            </a:r>
          </a:p>
        </p:txBody>
      </p:sp>
      <p:sp>
        <p:nvSpPr>
          <p:cNvPr id="19" name="Zástupný text 3">
            <a:extLst>
              <a:ext uri="{FF2B5EF4-FFF2-40B4-BE49-F238E27FC236}">
                <a16:creationId xmlns:a16="http://schemas.microsoft.com/office/drawing/2014/main" id="{CF6DB5B6-5494-A313-1F7D-8C2CB9B67198}"/>
              </a:ext>
            </a:extLst>
          </p:cNvPr>
          <p:cNvSpPr txBox="1">
            <a:spLocks/>
          </p:cNvSpPr>
          <p:nvPr/>
        </p:nvSpPr>
        <p:spPr>
          <a:xfrm>
            <a:off x="515938" y="6397798"/>
            <a:ext cx="10586475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i="1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 dirty="0">
                <a:solidFill>
                  <a:srgbClr val="000000"/>
                </a:solidFill>
              </a:rPr>
              <a:t>Báza: apríl 2022 n=1031; máj 2022 n=1026; jún 2022 n=1000; júl2022 n=1003; marec 2023 n=1038</a:t>
            </a:r>
            <a:r>
              <a:rPr lang="sk-SK" dirty="0">
                <a:solidFill>
                  <a:srgbClr val="000000"/>
                </a:solidFill>
              </a:rPr>
              <a:t>
Otázka: Q1. Ktoré z nasledujúcich tvrdení najlepšie vystihuje váš pohľad na vojnový konflikt na Ukrajine, resp. jeho vplyv na Slovensko/ Českú republiku. </a:t>
            </a:r>
            <a:endParaRPr kumimoji="0" lang="sk-SK" sz="800" b="0" i="1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E9AE8E31-1432-5BBA-5A90-B040258F059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2955" y="6201308"/>
            <a:ext cx="1512168" cy="461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6393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0D6761A9-85DA-407C-AE82-2FB167DAF98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43371" y="459718"/>
            <a:ext cx="8402757" cy="707886"/>
          </a:xfrm>
        </p:spPr>
        <p:txBody>
          <a:bodyPr/>
          <a:lstStyle/>
          <a:p>
            <a:r>
              <a:rPr lang="cs-CZ" dirty="0"/>
              <a:t>KONTAKTY</a:t>
            </a:r>
          </a:p>
        </p:txBody>
      </p:sp>
    </p:spTree>
    <p:extLst>
      <p:ext uri="{BB962C8B-B14F-4D97-AF65-F5344CB8AC3E}">
        <p14:creationId xmlns:p14="http://schemas.microsoft.com/office/powerpoint/2010/main" val="18751773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4A0D46D-7847-4F18-BD92-2D3BD3FF6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b="1" dirty="0">
                <a:solidFill>
                  <a:srgbClr val="002060"/>
                </a:solidFill>
                <a:latin typeface="Arial Black" panose="020B0A04020102020204" pitchFamily="34" charset="0"/>
              </a:rPr>
              <a:t>KONTAKTY</a:t>
            </a:r>
          </a:p>
        </p:txBody>
      </p:sp>
      <p:grpSp>
        <p:nvGrpSpPr>
          <p:cNvPr id="26" name="Skupina 25">
            <a:extLst>
              <a:ext uri="{FF2B5EF4-FFF2-40B4-BE49-F238E27FC236}">
                <a16:creationId xmlns:a16="http://schemas.microsoft.com/office/drawing/2014/main" id="{9C8BFB08-4E60-495B-A9DE-5592174BB1A1}"/>
              </a:ext>
            </a:extLst>
          </p:cNvPr>
          <p:cNvGrpSpPr/>
          <p:nvPr/>
        </p:nvGrpSpPr>
        <p:grpSpPr>
          <a:xfrm>
            <a:off x="965333" y="6049466"/>
            <a:ext cx="10261334" cy="655898"/>
            <a:chOff x="965333" y="5991976"/>
            <a:chExt cx="10261334" cy="655898"/>
          </a:xfrm>
        </p:grpSpPr>
        <p:sp>
          <p:nvSpPr>
            <p:cNvPr id="27" name="TextovéPole 26">
              <a:extLst>
                <a:ext uri="{FF2B5EF4-FFF2-40B4-BE49-F238E27FC236}">
                  <a16:creationId xmlns:a16="http://schemas.microsoft.com/office/drawing/2014/main" id="{9DA60071-99DD-45A0-8B12-0D48A3334767}"/>
                </a:ext>
              </a:extLst>
            </p:cNvPr>
            <p:cNvSpPr txBox="1"/>
            <p:nvPr/>
          </p:nvSpPr>
          <p:spPr>
            <a:xfrm>
              <a:off x="965333" y="5991976"/>
              <a:ext cx="1026133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eydukova 12, 811 08, Bratislava</a:t>
              </a:r>
            </a:p>
          </p:txBody>
        </p:sp>
        <p:grpSp>
          <p:nvGrpSpPr>
            <p:cNvPr id="28" name="Skupina 27">
              <a:extLst>
                <a:ext uri="{FF2B5EF4-FFF2-40B4-BE49-F238E27FC236}">
                  <a16:creationId xmlns:a16="http://schemas.microsoft.com/office/drawing/2014/main" id="{D26507DB-F99D-4F8B-84BE-69926FAB6B85}"/>
                </a:ext>
              </a:extLst>
            </p:cNvPr>
            <p:cNvGrpSpPr/>
            <p:nvPr/>
          </p:nvGrpSpPr>
          <p:grpSpPr>
            <a:xfrm>
              <a:off x="3640187" y="6309320"/>
              <a:ext cx="4837753" cy="338554"/>
              <a:chOff x="3587114" y="6123027"/>
              <a:chExt cx="5017773" cy="338554"/>
            </a:xfrm>
          </p:grpSpPr>
          <p:sp>
            <p:nvSpPr>
              <p:cNvPr id="29" name="TextovéPole 28">
                <a:extLst>
                  <a:ext uri="{FF2B5EF4-FFF2-40B4-BE49-F238E27FC236}">
                    <a16:creationId xmlns:a16="http://schemas.microsoft.com/office/drawing/2014/main" id="{3B32EF06-1857-4B2C-B681-AABACCF7B84C}"/>
                  </a:ext>
                </a:extLst>
              </p:cNvPr>
              <p:cNvSpPr txBox="1"/>
              <p:nvPr userDrawn="1"/>
            </p:nvSpPr>
            <p:spPr>
              <a:xfrm>
                <a:off x="3587114" y="6123027"/>
                <a:ext cx="239839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9D9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www.ipsos.</a:t>
                </a:r>
                <a:r>
                  <a:rPr lang="cs-CZ" sz="1600" b="1" dirty="0">
                    <a:solidFill>
                      <a:srgbClr val="009D9C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k</a:t>
                </a:r>
                <a:endParaRPr kumimoji="0" lang="cs-CZ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9D9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0" name="TextovéPole 29">
                <a:extLst>
                  <a:ext uri="{FF2B5EF4-FFF2-40B4-BE49-F238E27FC236}">
                    <a16:creationId xmlns:a16="http://schemas.microsoft.com/office/drawing/2014/main" id="{0426F8CF-B6C3-4D21-8D7E-35BE2CD2E4A4}"/>
                  </a:ext>
                </a:extLst>
              </p:cNvPr>
              <p:cNvSpPr txBox="1"/>
              <p:nvPr userDrawn="1"/>
            </p:nvSpPr>
            <p:spPr>
              <a:xfrm>
                <a:off x="6206489" y="6123027"/>
                <a:ext cx="239839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9D9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www.ipsos.com</a:t>
                </a:r>
              </a:p>
            </p:txBody>
          </p:sp>
        </p:grpSp>
      </p:grpSp>
      <p:sp>
        <p:nvSpPr>
          <p:cNvPr id="41" name="Rectangle 14">
            <a:extLst>
              <a:ext uri="{FF2B5EF4-FFF2-40B4-BE49-F238E27FC236}">
                <a16:creationId xmlns:a16="http://schemas.microsoft.com/office/drawing/2014/main" id="{A89CB332-4171-4EF7-B9C1-50E6C2ACC0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53703" y="1944115"/>
            <a:ext cx="3164400" cy="1447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2671" tIns="61340" rIns="122671" bIns="6134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akub Hankovský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naging</a:t>
            </a:r>
            <a:r>
              <a:rPr kumimoji="0" lang="sk-SK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sk-SK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rector</a:t>
            </a:r>
            <a:endParaRPr kumimoji="0" lang="cs-CZ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psos Slovensko</a:t>
            </a:r>
            <a:endParaRPr kumimoji="0" lang="cs-CZ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sk-SK" sz="1400" kern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kub.hankovsky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@ipsos.com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SM: +</a:t>
            </a:r>
            <a:r>
              <a:rPr kumimoji="0" lang="sk-SK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21 910 875 012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Obrázek 3" descr="Obsah obrázku osoba, zeď, muž, interiér&#10;&#10;Popis byl vytvořen automaticky">
            <a:extLst>
              <a:ext uri="{FF2B5EF4-FFF2-40B4-BE49-F238E27FC236}">
                <a16:creationId xmlns:a16="http://schemas.microsoft.com/office/drawing/2014/main" id="{40FCA5F7-E1A7-9053-5D61-39E7330F297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8731" y="1808820"/>
            <a:ext cx="1851205" cy="1854359"/>
          </a:xfrm>
          <a:prstGeom prst="rect">
            <a:avLst/>
          </a:prstGeom>
        </p:spPr>
      </p:pic>
      <p:grpSp>
        <p:nvGrpSpPr>
          <p:cNvPr id="6" name="Skupina 5">
            <a:extLst>
              <a:ext uri="{FF2B5EF4-FFF2-40B4-BE49-F238E27FC236}">
                <a16:creationId xmlns:a16="http://schemas.microsoft.com/office/drawing/2014/main" id="{B83A5104-090B-183C-7B2E-C7E89D3022A8}"/>
              </a:ext>
            </a:extLst>
          </p:cNvPr>
          <p:cNvGrpSpPr/>
          <p:nvPr/>
        </p:nvGrpSpPr>
        <p:grpSpPr>
          <a:xfrm>
            <a:off x="1955540" y="4837393"/>
            <a:ext cx="8913802" cy="1135730"/>
            <a:chOff x="1955540" y="4837393"/>
            <a:chExt cx="8913802" cy="1135730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E1080EC9-CE3E-41C9-B0C6-F39CC7F56F38}"/>
                </a:ext>
              </a:extLst>
            </p:cNvPr>
            <p:cNvGrpSpPr/>
            <p:nvPr/>
          </p:nvGrpSpPr>
          <p:grpSpPr>
            <a:xfrm>
              <a:off x="2912458" y="5066706"/>
              <a:ext cx="7956884" cy="880596"/>
              <a:chOff x="0" y="5985284"/>
              <a:chExt cx="7956884" cy="880596"/>
            </a:xfrm>
          </p:grpSpPr>
          <p:sp>
            <p:nvSpPr>
              <p:cNvPr id="32" name="Obdélník 31">
                <a:extLst>
                  <a:ext uri="{FF2B5EF4-FFF2-40B4-BE49-F238E27FC236}">
                    <a16:creationId xmlns:a16="http://schemas.microsoft.com/office/drawing/2014/main" id="{FA763FA6-0C95-4838-A0CB-0382F931D247}"/>
                  </a:ext>
                </a:extLst>
              </p:cNvPr>
              <p:cNvSpPr/>
              <p:nvPr/>
            </p:nvSpPr>
            <p:spPr>
              <a:xfrm>
                <a:off x="0" y="6091193"/>
                <a:ext cx="7956884" cy="77468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34" name="Obrázek 33">
                <a:extLst>
                  <a:ext uri="{FF2B5EF4-FFF2-40B4-BE49-F238E27FC236}">
                    <a16:creationId xmlns:a16="http://schemas.microsoft.com/office/drawing/2014/main" id="{DCD1F0AC-FA03-4FD1-8B99-9A8DA0BA3A0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2058" b="23821"/>
              <a:stretch/>
            </p:blipFill>
            <p:spPr>
              <a:xfrm>
                <a:off x="1415480" y="6047250"/>
                <a:ext cx="1182977" cy="640237"/>
              </a:xfrm>
              <a:prstGeom prst="rect">
                <a:avLst/>
              </a:prstGeom>
            </p:spPr>
          </p:pic>
          <p:pic>
            <p:nvPicPr>
              <p:cNvPr id="35" name="Obrázek 34">
                <a:extLst>
                  <a:ext uri="{FF2B5EF4-FFF2-40B4-BE49-F238E27FC236}">
                    <a16:creationId xmlns:a16="http://schemas.microsoft.com/office/drawing/2014/main" id="{6E1348CF-D476-44B7-8360-CB49D6CEC4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41012" y="6213008"/>
                <a:ext cx="2678924" cy="204324"/>
              </a:xfrm>
              <a:prstGeom prst="rect">
                <a:avLst/>
              </a:prstGeom>
            </p:spPr>
          </p:pic>
          <p:pic>
            <p:nvPicPr>
              <p:cNvPr id="38" name="Obrázek 37">
                <a:extLst>
                  <a:ext uri="{FF2B5EF4-FFF2-40B4-BE49-F238E27FC236}">
                    <a16:creationId xmlns:a16="http://schemas.microsoft.com/office/drawing/2014/main" id="{DB3DE427-CCAD-4222-9653-B9C7A37533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20753" y="5985284"/>
                <a:ext cx="1635387" cy="662494"/>
              </a:xfrm>
              <a:prstGeom prst="rect">
                <a:avLst/>
              </a:prstGeom>
            </p:spPr>
          </p:pic>
        </p:grpSp>
        <p:graphicFrame>
          <p:nvGraphicFramePr>
            <p:cNvPr id="5" name="Objekt 4">
              <a:extLst>
                <a:ext uri="{FF2B5EF4-FFF2-40B4-BE49-F238E27FC236}">
                  <a16:creationId xmlns:a16="http://schemas.microsoft.com/office/drawing/2014/main" id="{A92F26EC-F47F-560F-A4FC-8AA4205FC168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051459020"/>
                </p:ext>
              </p:extLst>
            </p:nvPr>
          </p:nvGraphicFramePr>
          <p:xfrm>
            <a:off x="1955540" y="4837393"/>
            <a:ext cx="2270573" cy="113573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Acrobat Document" r:id="rId6" imgW="30480000" imgH="15239895" progId="Acrobat.Document.DC">
                    <p:embed/>
                  </p:oleObj>
                </mc:Choice>
                <mc:Fallback>
                  <p:oleObj name="Acrobat Document" r:id="rId6" imgW="30480000" imgH="15239895" progId="Acrobat.Document.DC">
                    <p:embed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7"/>
                        <a:stretch>
                          <a:fillRect/>
                        </a:stretch>
                      </p:blipFill>
                      <p:spPr>
                        <a:xfrm>
                          <a:off x="1955540" y="4837393"/>
                          <a:ext cx="2270573" cy="113573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40938331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Vlastní návrh">
  <a:themeElements>
    <a:clrScheme name="00_Ipsos FIN_černá">
      <a:dk1>
        <a:srgbClr val="000000"/>
      </a:dk1>
      <a:lt1>
        <a:srgbClr val="FFFFFF"/>
      </a:lt1>
      <a:dk2>
        <a:srgbClr val="2F469C"/>
      </a:dk2>
      <a:lt2>
        <a:srgbClr val="009D9C"/>
      </a:lt2>
      <a:accent1>
        <a:srgbClr val="002554"/>
      </a:accent1>
      <a:accent2>
        <a:srgbClr val="009D9C"/>
      </a:accent2>
      <a:accent3>
        <a:srgbClr val="84329B"/>
      </a:accent3>
      <a:accent4>
        <a:srgbClr val="C0C0C0"/>
      </a:accent4>
      <a:accent5>
        <a:srgbClr val="E87722"/>
      </a:accent5>
      <a:accent6>
        <a:srgbClr val="F1BE4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Vlastní návrh">
  <a:themeElements>
    <a:clrScheme name="00_Ipsos FIN_černá">
      <a:dk1>
        <a:srgbClr val="000000"/>
      </a:dk1>
      <a:lt1>
        <a:srgbClr val="FFFFFF"/>
      </a:lt1>
      <a:dk2>
        <a:srgbClr val="2F469C"/>
      </a:dk2>
      <a:lt2>
        <a:srgbClr val="009D9C"/>
      </a:lt2>
      <a:accent1>
        <a:srgbClr val="002554"/>
      </a:accent1>
      <a:accent2>
        <a:srgbClr val="009D9C"/>
      </a:accent2>
      <a:accent3>
        <a:srgbClr val="84329B"/>
      </a:accent3>
      <a:accent4>
        <a:srgbClr val="C0C0C0"/>
      </a:accent4>
      <a:accent5>
        <a:srgbClr val="E87722"/>
      </a:accent5>
      <a:accent6>
        <a:srgbClr val="F1BE4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úvodní slide">
  <a:themeElements>
    <a:clrScheme name="Ipsos">
      <a:dk1>
        <a:srgbClr val="003399"/>
      </a:dk1>
      <a:lt1>
        <a:srgbClr val="FFFFFF"/>
      </a:lt1>
      <a:dk2>
        <a:srgbClr val="000000"/>
      </a:dk2>
      <a:lt2>
        <a:srgbClr val="BABABA"/>
      </a:lt2>
      <a:accent1>
        <a:srgbClr val="008BCA"/>
      </a:accent1>
      <a:accent2>
        <a:srgbClr val="FBB040"/>
      </a:accent2>
      <a:accent3>
        <a:srgbClr val="ED6737"/>
      </a:accent3>
      <a:accent4>
        <a:srgbClr val="A1C46B"/>
      </a:accent4>
      <a:accent5>
        <a:srgbClr val="008E94"/>
      </a:accent5>
      <a:accent6>
        <a:srgbClr val="281051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bg2"/>
          </a:solidFill>
        </a:ln>
      </a:spPr>
      <a:bodyPr rtlCol="0" anchor="ctr"/>
      <a:lstStyle>
        <a:defPPr algn="ctr">
          <a:defRPr sz="2000" dirty="0" err="1" smtClean="0">
            <a:solidFill>
              <a:srgbClr val="003399"/>
            </a:solidFill>
            <a:latin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none" rtlCol="0">
        <a:spAutoFit/>
      </a:bodyPr>
      <a:lstStyle>
        <a:defPPr marL="173038" indent="-173038">
          <a:defRPr sz="2000" dirty="0" err="1" smtClean="0">
            <a:solidFill>
              <a:srgbClr val="003399"/>
            </a:solidFill>
            <a:latin typeface="Calibri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úvodní slide">
  <a:themeElements>
    <a:clrScheme name="Ipsos">
      <a:dk1>
        <a:srgbClr val="003399"/>
      </a:dk1>
      <a:lt1>
        <a:srgbClr val="FFFFFF"/>
      </a:lt1>
      <a:dk2>
        <a:srgbClr val="000000"/>
      </a:dk2>
      <a:lt2>
        <a:srgbClr val="BABABA"/>
      </a:lt2>
      <a:accent1>
        <a:srgbClr val="008BCA"/>
      </a:accent1>
      <a:accent2>
        <a:srgbClr val="FBB040"/>
      </a:accent2>
      <a:accent3>
        <a:srgbClr val="ED6737"/>
      </a:accent3>
      <a:accent4>
        <a:srgbClr val="A1C46B"/>
      </a:accent4>
      <a:accent5>
        <a:srgbClr val="008E94"/>
      </a:accent5>
      <a:accent6>
        <a:srgbClr val="281051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bg2"/>
          </a:solidFill>
        </a:ln>
      </a:spPr>
      <a:bodyPr rtlCol="0" anchor="ctr"/>
      <a:lstStyle>
        <a:defPPr algn="ctr">
          <a:defRPr sz="2000" dirty="0" err="1" smtClean="0">
            <a:solidFill>
              <a:srgbClr val="003399"/>
            </a:solidFill>
            <a:latin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none" rtlCol="0">
        <a:spAutoFit/>
      </a:bodyPr>
      <a:lstStyle>
        <a:defPPr marL="173038" indent="-173038">
          <a:defRPr sz="2000" dirty="0" err="1" smtClean="0">
            <a:solidFill>
              <a:srgbClr val="003399"/>
            </a:solidFill>
            <a:latin typeface="Calibri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Vlastní návrh">
  <a:themeElements>
    <a:clrScheme name="00_Ipsos FIN_černá">
      <a:dk1>
        <a:srgbClr val="000000"/>
      </a:dk1>
      <a:lt1>
        <a:srgbClr val="FFFFFF"/>
      </a:lt1>
      <a:dk2>
        <a:srgbClr val="2F469C"/>
      </a:dk2>
      <a:lt2>
        <a:srgbClr val="009D9C"/>
      </a:lt2>
      <a:accent1>
        <a:srgbClr val="002554"/>
      </a:accent1>
      <a:accent2>
        <a:srgbClr val="009D9C"/>
      </a:accent2>
      <a:accent3>
        <a:srgbClr val="84329B"/>
      </a:accent3>
      <a:accent4>
        <a:srgbClr val="C0C0C0"/>
      </a:accent4>
      <a:accent5>
        <a:srgbClr val="E87722"/>
      </a:accent5>
      <a:accent6>
        <a:srgbClr val="F1BE4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F2E3FA82B2CE40BB2E481BC04AAE31" ma:contentTypeVersion="12" ma:contentTypeDescription="Create a new document." ma:contentTypeScope="" ma:versionID="d4517190fe2215c25d2437b573bced16">
  <xsd:schema xmlns:xsd="http://www.w3.org/2001/XMLSchema" xmlns:xs="http://www.w3.org/2001/XMLSchema" xmlns:p="http://schemas.microsoft.com/office/2006/metadata/properties" xmlns:ns3="d446be1b-9fba-4ea9-a38b-99220c7a54fc" xmlns:ns4="25f091b2-b0eb-48cb-9fe1-f0f16642db9a" targetNamespace="http://schemas.microsoft.com/office/2006/metadata/properties" ma:root="true" ma:fieldsID="b2db10526bfd092c8c6a6691dec20f28" ns3:_="" ns4:_="">
    <xsd:import namespace="d446be1b-9fba-4ea9-a38b-99220c7a54fc"/>
    <xsd:import namespace="25f091b2-b0eb-48cb-9fe1-f0f16642db9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46be1b-9fba-4ea9-a38b-99220c7a54f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f091b2-b0eb-48cb-9fe1-f0f16642db9a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2EAE600-C632-42C4-A833-DA912197EE1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446be1b-9fba-4ea9-a38b-99220c7a54fc"/>
    <ds:schemaRef ds:uri="25f091b2-b0eb-48cb-9fe1-f0f16642db9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D6EB6DF-3629-4FC4-B848-926FC7B774B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BC55DB8-D07A-40A0-9FF1-24A43E24C913}">
  <ds:schemaRefs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25f091b2-b0eb-48cb-9fe1-f0f16642db9a"/>
    <ds:schemaRef ds:uri="http://purl.org/dc/terms/"/>
    <ds:schemaRef ds:uri="d446be1b-9fba-4ea9-a38b-99220c7a54fc"/>
    <ds:schemaRef ds:uri="http://purl.org/dc/dcmitype/"/>
    <ds:schemaRef ds:uri="http://schemas.openxmlformats.org/package/2006/metadata/core-properties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815</TotalTime>
  <Words>415</Words>
  <Application>Microsoft Macintosh PowerPoint</Application>
  <PresentationFormat>Widescreen</PresentationFormat>
  <Paragraphs>45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Arial</vt:lpstr>
      <vt:lpstr>Arial Black</vt:lpstr>
      <vt:lpstr>Calibri</vt:lpstr>
      <vt:lpstr>Courier New</vt:lpstr>
      <vt:lpstr>Wingdings</vt:lpstr>
      <vt:lpstr>1_Vlastní návrh</vt:lpstr>
      <vt:lpstr>2_Vlastní návrh</vt:lpstr>
      <vt:lpstr>1_úvodní slide</vt:lpstr>
      <vt:lpstr>2_úvodní slide</vt:lpstr>
      <vt:lpstr>3_Vlastní návrh</vt:lpstr>
      <vt:lpstr>think-cell Slide</vt:lpstr>
      <vt:lpstr>Acrobat Document</vt:lpstr>
      <vt:lpstr>VNíMANIE DEZINFORMáCIí NA SLOVENSKU A V čr</vt:lpstr>
      <vt:lpstr>METODOLOGIE A POZADÍ VÝZKUMU</vt:lpstr>
      <vt:lpstr>PowerPoint Presentation</vt:lpstr>
      <vt:lpstr>VÝVOJ VNÍMANIA INFORMAČNEJ VOJNY NA SLOVENSKU</vt:lpstr>
      <vt:lpstr>VÝVOJ VNÍMANIA INFORMAČNEJ VOJNY V ČESKEJ REPUBLIKE</vt:lpstr>
      <vt:lpstr>PowerPoint Presentation</vt:lpstr>
      <vt:lpstr>KONTAKT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iroslav Paška - Ipsos</dc:creator>
  <cp:lastModifiedBy>Krejčířová, Kateřina</cp:lastModifiedBy>
  <cp:revision>1524</cp:revision>
  <cp:lastPrinted>2016-07-14T09:20:19Z</cp:lastPrinted>
  <dcterms:created xsi:type="dcterms:W3CDTF">2012-02-21T08:44:35Z</dcterms:created>
  <dcterms:modified xsi:type="dcterms:W3CDTF">2023-03-17T10:36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F2E3FA82B2CE40BB2E481BC04AAE31</vt:lpwstr>
  </property>
</Properties>
</file>